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</p:sldMasterIdLst>
  <p:notesMasterIdLst>
    <p:notesMasterId r:id="rId18"/>
  </p:notesMasterIdLst>
  <p:handoutMasterIdLst>
    <p:handoutMasterId r:id="rId19"/>
  </p:handoutMasterIdLst>
  <p:sldIdLst>
    <p:sldId id="8825" r:id="rId5"/>
    <p:sldId id="268" r:id="rId6"/>
    <p:sldId id="286" r:id="rId7"/>
    <p:sldId id="295" r:id="rId8"/>
    <p:sldId id="1568" r:id="rId9"/>
    <p:sldId id="1576" r:id="rId10"/>
    <p:sldId id="1572" r:id="rId11"/>
    <p:sldId id="421" r:id="rId12"/>
    <p:sldId id="8861" r:id="rId13"/>
    <p:sldId id="1573" r:id="rId14"/>
    <p:sldId id="1574" r:id="rId15"/>
    <p:sldId id="1575" r:id="rId16"/>
    <p:sldId id="8865" r:id="rId17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2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C811"/>
    <a:srgbClr val="F2C812"/>
    <a:srgbClr val="EDC30D"/>
    <a:srgbClr val="494949"/>
    <a:srgbClr val="FFC000"/>
    <a:srgbClr val="DEEBF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8C1A06-345A-4C65-B61E-AEFFC87D4285}" v="13" dt="2019-11-08T18:10:03.909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64809" autoAdjust="0"/>
  </p:normalViewPr>
  <p:slideViewPr>
    <p:cSldViewPr snapToGrid="0">
      <p:cViewPr varScale="1">
        <p:scale>
          <a:sx n="81" d="100"/>
          <a:sy n="81" d="100"/>
        </p:scale>
        <p:origin x="76" y="72"/>
      </p:cViewPr>
      <p:guideLst/>
    </p:cSldViewPr>
  </p:slideViewPr>
  <p:notesTextViewPr>
    <p:cViewPr>
      <p:scale>
        <a:sx n="125" d="100"/>
        <a:sy n="125" d="100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1616A5-29C3-4E27-B1BE-55EE1A0173C6}" type="doc">
      <dgm:prSet loTypeId="urn:microsoft.com/office/officeart/2009/3/layout/HorizontalOrganizationChart" loCatId="hierarchy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84176246-96FD-467B-B883-7597FFE71F64}">
      <dgm:prSet/>
      <dgm:spPr/>
      <dgm:t>
        <a:bodyPr/>
        <a:lstStyle/>
        <a:p>
          <a:r>
            <a:rPr lang="en-GB" baseline="0" dirty="0"/>
            <a:t>Plan for adoption</a:t>
          </a:r>
          <a:endParaRPr lang="en-GB" dirty="0"/>
        </a:p>
      </dgm:t>
    </dgm:pt>
    <dgm:pt modelId="{E9AFECFA-6551-4358-BFF8-22B9AA7C1BA0}" type="parTrans" cxnId="{333A7814-9CFC-45F6-872C-736A8806E03E}">
      <dgm:prSet/>
      <dgm:spPr/>
      <dgm:t>
        <a:bodyPr/>
        <a:lstStyle/>
        <a:p>
          <a:endParaRPr lang="en-US"/>
        </a:p>
      </dgm:t>
    </dgm:pt>
    <dgm:pt modelId="{19ED48DB-D628-4622-AC0F-0C90E968FF67}" type="sibTrans" cxnId="{333A7814-9CFC-45F6-872C-736A8806E03E}">
      <dgm:prSet/>
      <dgm:spPr/>
      <dgm:t>
        <a:bodyPr/>
        <a:lstStyle/>
        <a:p>
          <a:endParaRPr lang="en-US"/>
        </a:p>
      </dgm:t>
    </dgm:pt>
    <dgm:pt modelId="{45A71536-347B-440A-91FA-8582F882F6E2}">
      <dgm:prSet custT="1"/>
      <dgm:spPr/>
      <dgm:t>
        <a:bodyPr/>
        <a:lstStyle/>
        <a:p>
          <a:r>
            <a:rPr lang="en-GB" sz="1800" baseline="0" dirty="0"/>
            <a:t>Training needs</a:t>
          </a:r>
          <a:endParaRPr lang="en-GB" sz="1800" dirty="0"/>
        </a:p>
      </dgm:t>
    </dgm:pt>
    <dgm:pt modelId="{1514DAE1-D18A-4C12-A7BB-CBE2B3B7A60A}" type="parTrans" cxnId="{F03A635B-709A-4332-BE5F-D23FF763DC3D}">
      <dgm:prSet/>
      <dgm:spPr/>
      <dgm:t>
        <a:bodyPr/>
        <a:lstStyle/>
        <a:p>
          <a:endParaRPr lang="en-US"/>
        </a:p>
      </dgm:t>
    </dgm:pt>
    <dgm:pt modelId="{972948D2-5F30-477C-9F6D-B707BEFFA827}" type="sibTrans" cxnId="{F03A635B-709A-4332-BE5F-D23FF763DC3D}">
      <dgm:prSet/>
      <dgm:spPr/>
      <dgm:t>
        <a:bodyPr/>
        <a:lstStyle/>
        <a:p>
          <a:endParaRPr lang="en-US"/>
        </a:p>
      </dgm:t>
    </dgm:pt>
    <dgm:pt modelId="{1EA2FED8-EA28-43E2-86E5-F07F4099A889}">
      <dgm:prSet custT="1"/>
      <dgm:spPr/>
      <dgm:t>
        <a:bodyPr/>
        <a:lstStyle/>
        <a:p>
          <a:r>
            <a:rPr lang="en-GB" sz="1800" baseline="0" dirty="0"/>
            <a:t>Change management</a:t>
          </a:r>
          <a:endParaRPr lang="en-GB" sz="1800" dirty="0"/>
        </a:p>
      </dgm:t>
    </dgm:pt>
    <dgm:pt modelId="{1275F5FB-F0D3-41D2-A4F5-C1231C56D9B6}" type="parTrans" cxnId="{FA7675BF-A989-486F-B634-3BF18C2DBAC7}">
      <dgm:prSet/>
      <dgm:spPr/>
      <dgm:t>
        <a:bodyPr/>
        <a:lstStyle/>
        <a:p>
          <a:endParaRPr lang="en-US"/>
        </a:p>
      </dgm:t>
    </dgm:pt>
    <dgm:pt modelId="{80BA7300-2335-4E3E-A301-695F41C0AE3A}" type="sibTrans" cxnId="{FA7675BF-A989-486F-B634-3BF18C2DBAC7}">
      <dgm:prSet/>
      <dgm:spPr/>
      <dgm:t>
        <a:bodyPr/>
        <a:lstStyle/>
        <a:p>
          <a:endParaRPr lang="en-US"/>
        </a:p>
      </dgm:t>
    </dgm:pt>
    <dgm:pt modelId="{149CC44A-FCF3-445E-977E-51BF617A0195}">
      <dgm:prSet custT="1"/>
      <dgm:spPr/>
      <dgm:t>
        <a:bodyPr/>
        <a:lstStyle/>
        <a:p>
          <a:r>
            <a:rPr lang="en-GB" sz="1800" baseline="0" dirty="0"/>
            <a:t>Project Prioritisation</a:t>
          </a:r>
          <a:endParaRPr lang="en-GB" sz="1800" dirty="0"/>
        </a:p>
      </dgm:t>
    </dgm:pt>
    <dgm:pt modelId="{8F78BC22-B691-4075-9DD6-2DB79D6CD3CF}" type="parTrans" cxnId="{309FFF16-6568-4E93-8086-5E003CA6744C}">
      <dgm:prSet/>
      <dgm:spPr/>
      <dgm:t>
        <a:bodyPr/>
        <a:lstStyle/>
        <a:p>
          <a:endParaRPr lang="en-US"/>
        </a:p>
      </dgm:t>
    </dgm:pt>
    <dgm:pt modelId="{86FC3C6D-6D7D-4BB7-9D8B-1284261D005A}" type="sibTrans" cxnId="{309FFF16-6568-4E93-8086-5E003CA6744C}">
      <dgm:prSet/>
      <dgm:spPr/>
      <dgm:t>
        <a:bodyPr/>
        <a:lstStyle/>
        <a:p>
          <a:endParaRPr lang="en-US"/>
        </a:p>
      </dgm:t>
    </dgm:pt>
    <dgm:pt modelId="{455BC3D0-E347-480A-90B3-8B801382489A}">
      <dgm:prSet/>
      <dgm:spPr/>
      <dgm:t>
        <a:bodyPr/>
        <a:lstStyle/>
        <a:p>
          <a:r>
            <a:rPr lang="en-GB" baseline="0" dirty="0"/>
            <a:t>Roll-Out strategy</a:t>
          </a:r>
          <a:endParaRPr lang="en-GB" dirty="0"/>
        </a:p>
      </dgm:t>
    </dgm:pt>
    <dgm:pt modelId="{4B6900E6-7829-4EC2-83E8-ACEFFD11C6BF}" type="parTrans" cxnId="{08F64967-3136-49C1-8C8D-7F048F6BC016}">
      <dgm:prSet/>
      <dgm:spPr/>
      <dgm:t>
        <a:bodyPr/>
        <a:lstStyle/>
        <a:p>
          <a:endParaRPr lang="en-US"/>
        </a:p>
      </dgm:t>
    </dgm:pt>
    <dgm:pt modelId="{854B5A5A-2B39-41A2-91A4-D7605CC8AA21}" type="sibTrans" cxnId="{08F64967-3136-49C1-8C8D-7F048F6BC016}">
      <dgm:prSet/>
      <dgm:spPr/>
      <dgm:t>
        <a:bodyPr/>
        <a:lstStyle/>
        <a:p>
          <a:endParaRPr lang="en-US"/>
        </a:p>
      </dgm:t>
    </dgm:pt>
    <dgm:pt modelId="{AE238B7D-FBD4-42C7-9255-A1F28FBF7AB0}">
      <dgm:prSet custT="1"/>
      <dgm:spPr/>
      <dgm:t>
        <a:bodyPr/>
        <a:lstStyle/>
        <a:p>
          <a:r>
            <a:rPr lang="en-GB" sz="1800" baseline="0" dirty="0"/>
            <a:t>Smooth roll-out</a:t>
          </a:r>
          <a:endParaRPr lang="en-GB" sz="1800" dirty="0"/>
        </a:p>
      </dgm:t>
    </dgm:pt>
    <dgm:pt modelId="{6FA8FECA-FD21-428A-A7C4-61656CDD1B21}" type="parTrans" cxnId="{BBF0035B-73BE-4222-946A-0B47EF2AA344}">
      <dgm:prSet/>
      <dgm:spPr/>
      <dgm:t>
        <a:bodyPr/>
        <a:lstStyle/>
        <a:p>
          <a:endParaRPr lang="en-US"/>
        </a:p>
      </dgm:t>
    </dgm:pt>
    <dgm:pt modelId="{A7B30719-920B-43AC-B9C9-0025C1D24D7A}" type="sibTrans" cxnId="{BBF0035B-73BE-4222-946A-0B47EF2AA344}">
      <dgm:prSet/>
      <dgm:spPr/>
      <dgm:t>
        <a:bodyPr/>
        <a:lstStyle/>
        <a:p>
          <a:endParaRPr lang="en-US"/>
        </a:p>
      </dgm:t>
    </dgm:pt>
    <dgm:pt modelId="{5A89C734-54C5-43CA-B57B-270D9FA8E078}">
      <dgm:prSet custT="1"/>
      <dgm:spPr/>
      <dgm:t>
        <a:bodyPr/>
        <a:lstStyle/>
        <a:p>
          <a:r>
            <a:rPr lang="en-GB" sz="1800" baseline="0" dirty="0"/>
            <a:t>Enables employees</a:t>
          </a:r>
          <a:endParaRPr lang="en-GB" sz="1800" dirty="0"/>
        </a:p>
      </dgm:t>
    </dgm:pt>
    <dgm:pt modelId="{36238EEB-8938-4708-9DF1-4940270A5BBA}" type="parTrans" cxnId="{33B6FF89-48CB-4F36-8695-7E39A8BE45C7}">
      <dgm:prSet/>
      <dgm:spPr/>
      <dgm:t>
        <a:bodyPr/>
        <a:lstStyle/>
        <a:p>
          <a:endParaRPr lang="en-US"/>
        </a:p>
      </dgm:t>
    </dgm:pt>
    <dgm:pt modelId="{FE22BEEC-73C4-4133-BE4D-DE750F406BE1}" type="sibTrans" cxnId="{33B6FF89-48CB-4F36-8695-7E39A8BE45C7}">
      <dgm:prSet/>
      <dgm:spPr/>
      <dgm:t>
        <a:bodyPr/>
        <a:lstStyle/>
        <a:p>
          <a:endParaRPr lang="en-US"/>
        </a:p>
      </dgm:t>
    </dgm:pt>
    <dgm:pt modelId="{E3B46A83-C61A-4069-BA30-D3A0EB1551EE}">
      <dgm:prSet custT="1"/>
      <dgm:spPr/>
      <dgm:t>
        <a:bodyPr/>
        <a:lstStyle/>
        <a:p>
          <a:r>
            <a:rPr lang="en-GB" sz="1800" baseline="0" dirty="0"/>
            <a:t>Timely support </a:t>
          </a:r>
          <a:endParaRPr lang="en-GB" sz="1800" dirty="0"/>
        </a:p>
      </dgm:t>
    </dgm:pt>
    <dgm:pt modelId="{5784E569-B516-4050-8FF9-237BA1A0975A}" type="parTrans" cxnId="{345020F0-B7B6-4440-B55F-B6E0F3271724}">
      <dgm:prSet/>
      <dgm:spPr/>
      <dgm:t>
        <a:bodyPr/>
        <a:lstStyle/>
        <a:p>
          <a:endParaRPr lang="en-US"/>
        </a:p>
      </dgm:t>
    </dgm:pt>
    <dgm:pt modelId="{A85D28BC-3BC6-4B35-9FAC-DBFB29B391C4}" type="sibTrans" cxnId="{345020F0-B7B6-4440-B55F-B6E0F3271724}">
      <dgm:prSet/>
      <dgm:spPr/>
      <dgm:t>
        <a:bodyPr/>
        <a:lstStyle/>
        <a:p>
          <a:endParaRPr lang="en-US"/>
        </a:p>
      </dgm:t>
    </dgm:pt>
    <dgm:pt modelId="{A567D409-BB3E-4864-AEC8-897C5BFD2AEE}" type="pres">
      <dgm:prSet presAssocID="{A41616A5-29C3-4E27-B1BE-55EE1A0173C6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13DABFE5-AE15-4D71-A796-4093C3900588}" type="pres">
      <dgm:prSet presAssocID="{84176246-96FD-467B-B883-7597FFE71F64}" presName="hierRoot1" presStyleCnt="0">
        <dgm:presLayoutVars>
          <dgm:hierBranch val="init"/>
        </dgm:presLayoutVars>
      </dgm:prSet>
      <dgm:spPr/>
    </dgm:pt>
    <dgm:pt modelId="{363DCE14-859C-40D2-9D49-22E87187C3DE}" type="pres">
      <dgm:prSet presAssocID="{84176246-96FD-467B-B883-7597FFE71F64}" presName="rootComposite1" presStyleCnt="0"/>
      <dgm:spPr/>
    </dgm:pt>
    <dgm:pt modelId="{7B3AFAB1-3D0B-41CE-8084-792C150D3A90}" type="pres">
      <dgm:prSet presAssocID="{84176246-96FD-467B-B883-7597FFE71F64}" presName="rootText1" presStyleLbl="node0" presStyleIdx="0" presStyleCnt="2">
        <dgm:presLayoutVars>
          <dgm:chPref val="3"/>
        </dgm:presLayoutVars>
      </dgm:prSet>
      <dgm:spPr/>
    </dgm:pt>
    <dgm:pt modelId="{F415D549-0A50-435E-AFCB-BDDFC74C9828}" type="pres">
      <dgm:prSet presAssocID="{84176246-96FD-467B-B883-7597FFE71F64}" presName="rootConnector1" presStyleLbl="node1" presStyleIdx="0" presStyleCnt="0"/>
      <dgm:spPr/>
    </dgm:pt>
    <dgm:pt modelId="{51383AEA-4D72-4A55-B6CF-68F00C4F0BD0}" type="pres">
      <dgm:prSet presAssocID="{84176246-96FD-467B-B883-7597FFE71F64}" presName="hierChild2" presStyleCnt="0"/>
      <dgm:spPr/>
    </dgm:pt>
    <dgm:pt modelId="{BEE92C3F-5928-45C2-AFAF-03A82F740A80}" type="pres">
      <dgm:prSet presAssocID="{1514DAE1-D18A-4C12-A7BB-CBE2B3B7A60A}" presName="Name64" presStyleLbl="parChTrans1D2" presStyleIdx="0" presStyleCnt="6"/>
      <dgm:spPr/>
    </dgm:pt>
    <dgm:pt modelId="{961CE449-BB25-45BC-BB54-1C4FE43D22CF}" type="pres">
      <dgm:prSet presAssocID="{45A71536-347B-440A-91FA-8582F882F6E2}" presName="hierRoot2" presStyleCnt="0">
        <dgm:presLayoutVars>
          <dgm:hierBranch val="init"/>
        </dgm:presLayoutVars>
      </dgm:prSet>
      <dgm:spPr/>
    </dgm:pt>
    <dgm:pt modelId="{3E19DA19-1709-46B5-9505-8EDA437FBCAA}" type="pres">
      <dgm:prSet presAssocID="{45A71536-347B-440A-91FA-8582F882F6E2}" presName="rootComposite" presStyleCnt="0"/>
      <dgm:spPr/>
    </dgm:pt>
    <dgm:pt modelId="{7E860E76-4F9E-4821-8118-182994921227}" type="pres">
      <dgm:prSet presAssocID="{45A71536-347B-440A-91FA-8582F882F6E2}" presName="rootText" presStyleLbl="node2" presStyleIdx="0" presStyleCnt="6">
        <dgm:presLayoutVars>
          <dgm:chPref val="3"/>
        </dgm:presLayoutVars>
      </dgm:prSet>
      <dgm:spPr/>
    </dgm:pt>
    <dgm:pt modelId="{E2EE8D1D-B9A0-427A-B161-0B0CA5EA1961}" type="pres">
      <dgm:prSet presAssocID="{45A71536-347B-440A-91FA-8582F882F6E2}" presName="rootConnector" presStyleLbl="node2" presStyleIdx="0" presStyleCnt="6"/>
      <dgm:spPr/>
    </dgm:pt>
    <dgm:pt modelId="{E31E487C-689A-496B-AE89-3DDF43FC39EC}" type="pres">
      <dgm:prSet presAssocID="{45A71536-347B-440A-91FA-8582F882F6E2}" presName="hierChild4" presStyleCnt="0"/>
      <dgm:spPr/>
    </dgm:pt>
    <dgm:pt modelId="{FC0C5007-12C6-40E1-AEF3-70F61D7C222C}" type="pres">
      <dgm:prSet presAssocID="{45A71536-347B-440A-91FA-8582F882F6E2}" presName="hierChild5" presStyleCnt="0"/>
      <dgm:spPr/>
    </dgm:pt>
    <dgm:pt modelId="{3D75CFDE-5DAB-4A9F-A066-D1C8A836DAB7}" type="pres">
      <dgm:prSet presAssocID="{1275F5FB-F0D3-41D2-A4F5-C1231C56D9B6}" presName="Name64" presStyleLbl="parChTrans1D2" presStyleIdx="1" presStyleCnt="6"/>
      <dgm:spPr/>
    </dgm:pt>
    <dgm:pt modelId="{98967328-8BE4-4AEE-942D-3B545C8C4109}" type="pres">
      <dgm:prSet presAssocID="{1EA2FED8-EA28-43E2-86E5-F07F4099A889}" presName="hierRoot2" presStyleCnt="0">
        <dgm:presLayoutVars>
          <dgm:hierBranch val="init"/>
        </dgm:presLayoutVars>
      </dgm:prSet>
      <dgm:spPr/>
    </dgm:pt>
    <dgm:pt modelId="{D790AFC4-6B9E-4982-B36A-BB01A32B4458}" type="pres">
      <dgm:prSet presAssocID="{1EA2FED8-EA28-43E2-86E5-F07F4099A889}" presName="rootComposite" presStyleCnt="0"/>
      <dgm:spPr/>
    </dgm:pt>
    <dgm:pt modelId="{14C257C8-9A5A-4199-8400-B8F1BA216CDD}" type="pres">
      <dgm:prSet presAssocID="{1EA2FED8-EA28-43E2-86E5-F07F4099A889}" presName="rootText" presStyleLbl="node2" presStyleIdx="1" presStyleCnt="6">
        <dgm:presLayoutVars>
          <dgm:chPref val="3"/>
        </dgm:presLayoutVars>
      </dgm:prSet>
      <dgm:spPr/>
    </dgm:pt>
    <dgm:pt modelId="{CF1DFE0E-7A9F-43C5-BC7B-8F4C02828A24}" type="pres">
      <dgm:prSet presAssocID="{1EA2FED8-EA28-43E2-86E5-F07F4099A889}" presName="rootConnector" presStyleLbl="node2" presStyleIdx="1" presStyleCnt="6"/>
      <dgm:spPr/>
    </dgm:pt>
    <dgm:pt modelId="{D12299FE-0D86-4DAB-B377-B0AB5D6FD313}" type="pres">
      <dgm:prSet presAssocID="{1EA2FED8-EA28-43E2-86E5-F07F4099A889}" presName="hierChild4" presStyleCnt="0"/>
      <dgm:spPr/>
    </dgm:pt>
    <dgm:pt modelId="{D420C9B3-6505-4697-9F3F-4CB474C5912F}" type="pres">
      <dgm:prSet presAssocID="{1EA2FED8-EA28-43E2-86E5-F07F4099A889}" presName="hierChild5" presStyleCnt="0"/>
      <dgm:spPr/>
    </dgm:pt>
    <dgm:pt modelId="{9F2187BD-A438-45F7-B04E-F9CF460E4C0F}" type="pres">
      <dgm:prSet presAssocID="{8F78BC22-B691-4075-9DD6-2DB79D6CD3CF}" presName="Name64" presStyleLbl="parChTrans1D2" presStyleIdx="2" presStyleCnt="6"/>
      <dgm:spPr/>
    </dgm:pt>
    <dgm:pt modelId="{C407B40B-6434-450D-AE1A-233DAFCCADE7}" type="pres">
      <dgm:prSet presAssocID="{149CC44A-FCF3-445E-977E-51BF617A0195}" presName="hierRoot2" presStyleCnt="0">
        <dgm:presLayoutVars>
          <dgm:hierBranch val="init"/>
        </dgm:presLayoutVars>
      </dgm:prSet>
      <dgm:spPr/>
    </dgm:pt>
    <dgm:pt modelId="{130B5994-5722-40A3-8AFA-2B824A32924C}" type="pres">
      <dgm:prSet presAssocID="{149CC44A-FCF3-445E-977E-51BF617A0195}" presName="rootComposite" presStyleCnt="0"/>
      <dgm:spPr/>
    </dgm:pt>
    <dgm:pt modelId="{A0367830-297B-46FD-B40E-58BCFDB09A4C}" type="pres">
      <dgm:prSet presAssocID="{149CC44A-FCF3-445E-977E-51BF617A0195}" presName="rootText" presStyleLbl="node2" presStyleIdx="2" presStyleCnt="6">
        <dgm:presLayoutVars>
          <dgm:chPref val="3"/>
        </dgm:presLayoutVars>
      </dgm:prSet>
      <dgm:spPr/>
    </dgm:pt>
    <dgm:pt modelId="{59FE0573-3617-4B79-8E0C-E0A493FE1757}" type="pres">
      <dgm:prSet presAssocID="{149CC44A-FCF3-445E-977E-51BF617A0195}" presName="rootConnector" presStyleLbl="node2" presStyleIdx="2" presStyleCnt="6"/>
      <dgm:spPr/>
    </dgm:pt>
    <dgm:pt modelId="{A68EFAA4-D022-413F-B15F-382A12F3E906}" type="pres">
      <dgm:prSet presAssocID="{149CC44A-FCF3-445E-977E-51BF617A0195}" presName="hierChild4" presStyleCnt="0"/>
      <dgm:spPr/>
    </dgm:pt>
    <dgm:pt modelId="{499F9E8A-D4A0-4566-BD0E-F8895BE75397}" type="pres">
      <dgm:prSet presAssocID="{149CC44A-FCF3-445E-977E-51BF617A0195}" presName="hierChild5" presStyleCnt="0"/>
      <dgm:spPr/>
    </dgm:pt>
    <dgm:pt modelId="{2C5A1E61-E6F2-4526-BD5E-BD604396F57E}" type="pres">
      <dgm:prSet presAssocID="{84176246-96FD-467B-B883-7597FFE71F64}" presName="hierChild3" presStyleCnt="0"/>
      <dgm:spPr/>
    </dgm:pt>
    <dgm:pt modelId="{6B740B07-C1B6-4E2C-959F-414A28EC4200}" type="pres">
      <dgm:prSet presAssocID="{455BC3D0-E347-480A-90B3-8B801382489A}" presName="hierRoot1" presStyleCnt="0">
        <dgm:presLayoutVars>
          <dgm:hierBranch val="init"/>
        </dgm:presLayoutVars>
      </dgm:prSet>
      <dgm:spPr/>
    </dgm:pt>
    <dgm:pt modelId="{0A6F9E71-161C-44CD-BF3B-FF11580E2943}" type="pres">
      <dgm:prSet presAssocID="{455BC3D0-E347-480A-90B3-8B801382489A}" presName="rootComposite1" presStyleCnt="0"/>
      <dgm:spPr/>
    </dgm:pt>
    <dgm:pt modelId="{D54CD301-8086-46BB-86E9-AA4F9A74A139}" type="pres">
      <dgm:prSet presAssocID="{455BC3D0-E347-480A-90B3-8B801382489A}" presName="rootText1" presStyleLbl="node0" presStyleIdx="1" presStyleCnt="2">
        <dgm:presLayoutVars>
          <dgm:chPref val="3"/>
        </dgm:presLayoutVars>
      </dgm:prSet>
      <dgm:spPr/>
    </dgm:pt>
    <dgm:pt modelId="{7B503E3B-6C2D-4C13-9A05-01CE0561B7DB}" type="pres">
      <dgm:prSet presAssocID="{455BC3D0-E347-480A-90B3-8B801382489A}" presName="rootConnector1" presStyleLbl="node1" presStyleIdx="0" presStyleCnt="0"/>
      <dgm:spPr/>
    </dgm:pt>
    <dgm:pt modelId="{C085B105-A00D-4883-91F1-30E748745D55}" type="pres">
      <dgm:prSet presAssocID="{455BC3D0-E347-480A-90B3-8B801382489A}" presName="hierChild2" presStyleCnt="0"/>
      <dgm:spPr/>
    </dgm:pt>
    <dgm:pt modelId="{E57B647A-4E85-476E-B0F2-05C7E9498437}" type="pres">
      <dgm:prSet presAssocID="{6FA8FECA-FD21-428A-A7C4-61656CDD1B21}" presName="Name64" presStyleLbl="parChTrans1D2" presStyleIdx="3" presStyleCnt="6"/>
      <dgm:spPr/>
    </dgm:pt>
    <dgm:pt modelId="{A13AD376-8DCA-40C1-B01B-F81A43EDAD44}" type="pres">
      <dgm:prSet presAssocID="{AE238B7D-FBD4-42C7-9255-A1F28FBF7AB0}" presName="hierRoot2" presStyleCnt="0">
        <dgm:presLayoutVars>
          <dgm:hierBranch val="init"/>
        </dgm:presLayoutVars>
      </dgm:prSet>
      <dgm:spPr/>
    </dgm:pt>
    <dgm:pt modelId="{4555ED77-F427-4B7E-92A1-A57BB7E5FAF9}" type="pres">
      <dgm:prSet presAssocID="{AE238B7D-FBD4-42C7-9255-A1F28FBF7AB0}" presName="rootComposite" presStyleCnt="0"/>
      <dgm:spPr/>
    </dgm:pt>
    <dgm:pt modelId="{B7813D52-6C17-4B5A-8155-AA52F2827680}" type="pres">
      <dgm:prSet presAssocID="{AE238B7D-FBD4-42C7-9255-A1F28FBF7AB0}" presName="rootText" presStyleLbl="node2" presStyleIdx="3" presStyleCnt="6">
        <dgm:presLayoutVars>
          <dgm:chPref val="3"/>
        </dgm:presLayoutVars>
      </dgm:prSet>
      <dgm:spPr/>
    </dgm:pt>
    <dgm:pt modelId="{7F954D02-CA06-473C-9B22-24E865D13E88}" type="pres">
      <dgm:prSet presAssocID="{AE238B7D-FBD4-42C7-9255-A1F28FBF7AB0}" presName="rootConnector" presStyleLbl="node2" presStyleIdx="3" presStyleCnt="6"/>
      <dgm:spPr/>
    </dgm:pt>
    <dgm:pt modelId="{10E12931-AF7B-49D4-994D-AEA6B0E0CBB2}" type="pres">
      <dgm:prSet presAssocID="{AE238B7D-FBD4-42C7-9255-A1F28FBF7AB0}" presName="hierChild4" presStyleCnt="0"/>
      <dgm:spPr/>
    </dgm:pt>
    <dgm:pt modelId="{D01E0E68-5FEF-41F7-BADA-903D28E40E45}" type="pres">
      <dgm:prSet presAssocID="{AE238B7D-FBD4-42C7-9255-A1F28FBF7AB0}" presName="hierChild5" presStyleCnt="0"/>
      <dgm:spPr/>
    </dgm:pt>
    <dgm:pt modelId="{08CF8413-0EEB-43DB-8CFA-C41D58448CE6}" type="pres">
      <dgm:prSet presAssocID="{36238EEB-8938-4708-9DF1-4940270A5BBA}" presName="Name64" presStyleLbl="parChTrans1D2" presStyleIdx="4" presStyleCnt="6"/>
      <dgm:spPr/>
    </dgm:pt>
    <dgm:pt modelId="{DF68DFC9-E2D8-4416-A26F-F4A2A90CA977}" type="pres">
      <dgm:prSet presAssocID="{5A89C734-54C5-43CA-B57B-270D9FA8E078}" presName="hierRoot2" presStyleCnt="0">
        <dgm:presLayoutVars>
          <dgm:hierBranch val="init"/>
        </dgm:presLayoutVars>
      </dgm:prSet>
      <dgm:spPr/>
    </dgm:pt>
    <dgm:pt modelId="{912A5442-21BC-4631-BCFD-31C3CBA24AB1}" type="pres">
      <dgm:prSet presAssocID="{5A89C734-54C5-43CA-B57B-270D9FA8E078}" presName="rootComposite" presStyleCnt="0"/>
      <dgm:spPr/>
    </dgm:pt>
    <dgm:pt modelId="{FF0999A2-A371-438B-9636-8BC14C9A22B5}" type="pres">
      <dgm:prSet presAssocID="{5A89C734-54C5-43CA-B57B-270D9FA8E078}" presName="rootText" presStyleLbl="node2" presStyleIdx="4" presStyleCnt="6">
        <dgm:presLayoutVars>
          <dgm:chPref val="3"/>
        </dgm:presLayoutVars>
      </dgm:prSet>
      <dgm:spPr/>
    </dgm:pt>
    <dgm:pt modelId="{CB90CA1C-2FB6-4AE9-BFFF-48C7C351C3F0}" type="pres">
      <dgm:prSet presAssocID="{5A89C734-54C5-43CA-B57B-270D9FA8E078}" presName="rootConnector" presStyleLbl="node2" presStyleIdx="4" presStyleCnt="6"/>
      <dgm:spPr/>
    </dgm:pt>
    <dgm:pt modelId="{58F28690-9732-4C71-A967-9655AC72A874}" type="pres">
      <dgm:prSet presAssocID="{5A89C734-54C5-43CA-B57B-270D9FA8E078}" presName="hierChild4" presStyleCnt="0"/>
      <dgm:spPr/>
    </dgm:pt>
    <dgm:pt modelId="{41971D7F-D614-4EF2-B01B-7D9109E2E019}" type="pres">
      <dgm:prSet presAssocID="{5A89C734-54C5-43CA-B57B-270D9FA8E078}" presName="hierChild5" presStyleCnt="0"/>
      <dgm:spPr/>
    </dgm:pt>
    <dgm:pt modelId="{FC194065-8BB9-40A4-8875-C19BF6770BD1}" type="pres">
      <dgm:prSet presAssocID="{5784E569-B516-4050-8FF9-237BA1A0975A}" presName="Name64" presStyleLbl="parChTrans1D2" presStyleIdx="5" presStyleCnt="6"/>
      <dgm:spPr/>
    </dgm:pt>
    <dgm:pt modelId="{D4F39A8B-7951-4181-A5E3-68155C281AEC}" type="pres">
      <dgm:prSet presAssocID="{E3B46A83-C61A-4069-BA30-D3A0EB1551EE}" presName="hierRoot2" presStyleCnt="0">
        <dgm:presLayoutVars>
          <dgm:hierBranch val="init"/>
        </dgm:presLayoutVars>
      </dgm:prSet>
      <dgm:spPr/>
    </dgm:pt>
    <dgm:pt modelId="{F514D14A-DE8B-4424-9EBC-BA3823C53A52}" type="pres">
      <dgm:prSet presAssocID="{E3B46A83-C61A-4069-BA30-D3A0EB1551EE}" presName="rootComposite" presStyleCnt="0"/>
      <dgm:spPr/>
    </dgm:pt>
    <dgm:pt modelId="{C8A9065A-A7A5-43B2-B96A-0D8660C0C64A}" type="pres">
      <dgm:prSet presAssocID="{E3B46A83-C61A-4069-BA30-D3A0EB1551EE}" presName="rootText" presStyleLbl="node2" presStyleIdx="5" presStyleCnt="6">
        <dgm:presLayoutVars>
          <dgm:chPref val="3"/>
        </dgm:presLayoutVars>
      </dgm:prSet>
      <dgm:spPr/>
    </dgm:pt>
    <dgm:pt modelId="{34F1AA48-0D42-4CEF-8B86-DB808A0645CB}" type="pres">
      <dgm:prSet presAssocID="{E3B46A83-C61A-4069-BA30-D3A0EB1551EE}" presName="rootConnector" presStyleLbl="node2" presStyleIdx="5" presStyleCnt="6"/>
      <dgm:spPr/>
    </dgm:pt>
    <dgm:pt modelId="{56665E4C-F952-4577-A516-1FD4C894EF8E}" type="pres">
      <dgm:prSet presAssocID="{E3B46A83-C61A-4069-BA30-D3A0EB1551EE}" presName="hierChild4" presStyleCnt="0"/>
      <dgm:spPr/>
    </dgm:pt>
    <dgm:pt modelId="{032AE0CC-8475-42FF-AFEB-4DA7DBD20EC8}" type="pres">
      <dgm:prSet presAssocID="{E3B46A83-C61A-4069-BA30-D3A0EB1551EE}" presName="hierChild5" presStyleCnt="0"/>
      <dgm:spPr/>
    </dgm:pt>
    <dgm:pt modelId="{B5767B7F-2C47-4D48-B103-E5C8454F0CCA}" type="pres">
      <dgm:prSet presAssocID="{455BC3D0-E347-480A-90B3-8B801382489A}" presName="hierChild3" presStyleCnt="0"/>
      <dgm:spPr/>
    </dgm:pt>
  </dgm:ptLst>
  <dgm:cxnLst>
    <dgm:cxn modelId="{75B4C710-6E6F-4224-9A54-AA5A89537881}" type="presOf" srcId="{5784E569-B516-4050-8FF9-237BA1A0975A}" destId="{FC194065-8BB9-40A4-8875-C19BF6770BD1}" srcOrd="0" destOrd="0" presId="urn:microsoft.com/office/officeart/2009/3/layout/HorizontalOrganizationChart"/>
    <dgm:cxn modelId="{333A7814-9CFC-45F6-872C-736A8806E03E}" srcId="{A41616A5-29C3-4E27-B1BE-55EE1A0173C6}" destId="{84176246-96FD-467B-B883-7597FFE71F64}" srcOrd="0" destOrd="0" parTransId="{E9AFECFA-6551-4358-BFF8-22B9AA7C1BA0}" sibTransId="{19ED48DB-D628-4622-AC0F-0C90E968FF67}"/>
    <dgm:cxn modelId="{309FFF16-6568-4E93-8086-5E003CA6744C}" srcId="{84176246-96FD-467B-B883-7597FFE71F64}" destId="{149CC44A-FCF3-445E-977E-51BF617A0195}" srcOrd="2" destOrd="0" parTransId="{8F78BC22-B691-4075-9DD6-2DB79D6CD3CF}" sibTransId="{86FC3C6D-6D7D-4BB7-9D8B-1284261D005A}"/>
    <dgm:cxn modelId="{7B90D425-74F2-4813-925B-21ACD51AC7D9}" type="presOf" srcId="{1275F5FB-F0D3-41D2-A4F5-C1231C56D9B6}" destId="{3D75CFDE-5DAB-4A9F-A066-D1C8A836DAB7}" srcOrd="0" destOrd="0" presId="urn:microsoft.com/office/officeart/2009/3/layout/HorizontalOrganizationChart"/>
    <dgm:cxn modelId="{E41B2B26-B984-41EF-8E88-445CE8801D58}" type="presOf" srcId="{45A71536-347B-440A-91FA-8582F882F6E2}" destId="{E2EE8D1D-B9A0-427A-B161-0B0CA5EA1961}" srcOrd="1" destOrd="0" presId="urn:microsoft.com/office/officeart/2009/3/layout/HorizontalOrganizationChart"/>
    <dgm:cxn modelId="{A2B7E62D-7FCD-4CFE-A85A-2527597AC7CA}" type="presOf" srcId="{5A89C734-54C5-43CA-B57B-270D9FA8E078}" destId="{CB90CA1C-2FB6-4AE9-BFFF-48C7C351C3F0}" srcOrd="1" destOrd="0" presId="urn:microsoft.com/office/officeart/2009/3/layout/HorizontalOrganizationChart"/>
    <dgm:cxn modelId="{3D677535-70A4-4FA3-A124-AA048F4B071E}" type="presOf" srcId="{149CC44A-FCF3-445E-977E-51BF617A0195}" destId="{59FE0573-3617-4B79-8E0C-E0A493FE1757}" srcOrd="1" destOrd="0" presId="urn:microsoft.com/office/officeart/2009/3/layout/HorizontalOrganizationChart"/>
    <dgm:cxn modelId="{BBF0035B-73BE-4222-946A-0B47EF2AA344}" srcId="{455BC3D0-E347-480A-90B3-8B801382489A}" destId="{AE238B7D-FBD4-42C7-9255-A1F28FBF7AB0}" srcOrd="0" destOrd="0" parTransId="{6FA8FECA-FD21-428A-A7C4-61656CDD1B21}" sibTransId="{A7B30719-920B-43AC-B9C9-0025C1D24D7A}"/>
    <dgm:cxn modelId="{F03A635B-709A-4332-BE5F-D23FF763DC3D}" srcId="{84176246-96FD-467B-B883-7597FFE71F64}" destId="{45A71536-347B-440A-91FA-8582F882F6E2}" srcOrd="0" destOrd="0" parTransId="{1514DAE1-D18A-4C12-A7BB-CBE2B3B7A60A}" sibTransId="{972948D2-5F30-477C-9F6D-B707BEFFA827}"/>
    <dgm:cxn modelId="{CD04245F-7331-4231-8AD6-4804CA07C7A9}" type="presOf" srcId="{45A71536-347B-440A-91FA-8582F882F6E2}" destId="{7E860E76-4F9E-4821-8118-182994921227}" srcOrd="0" destOrd="0" presId="urn:microsoft.com/office/officeart/2009/3/layout/HorizontalOrganizationChart"/>
    <dgm:cxn modelId="{08F64967-3136-49C1-8C8D-7F048F6BC016}" srcId="{A41616A5-29C3-4E27-B1BE-55EE1A0173C6}" destId="{455BC3D0-E347-480A-90B3-8B801382489A}" srcOrd="1" destOrd="0" parTransId="{4B6900E6-7829-4EC2-83E8-ACEFFD11C6BF}" sibTransId="{854B5A5A-2B39-41A2-91A4-D7605CC8AA21}"/>
    <dgm:cxn modelId="{13140872-E51F-4885-B8C1-5D3B9CF882B3}" type="presOf" srcId="{A41616A5-29C3-4E27-B1BE-55EE1A0173C6}" destId="{A567D409-BB3E-4864-AEC8-897C5BFD2AEE}" srcOrd="0" destOrd="0" presId="urn:microsoft.com/office/officeart/2009/3/layout/HorizontalOrganizationChart"/>
    <dgm:cxn modelId="{96E77A54-3448-4267-8050-CC14A3D734D0}" type="presOf" srcId="{455BC3D0-E347-480A-90B3-8B801382489A}" destId="{7B503E3B-6C2D-4C13-9A05-01CE0561B7DB}" srcOrd="1" destOrd="0" presId="urn:microsoft.com/office/officeart/2009/3/layout/HorizontalOrganizationChart"/>
    <dgm:cxn modelId="{6CB4727F-1FAB-4600-BDE8-F76F83C3257E}" type="presOf" srcId="{36238EEB-8938-4708-9DF1-4940270A5BBA}" destId="{08CF8413-0EEB-43DB-8CFA-C41D58448CE6}" srcOrd="0" destOrd="0" presId="urn:microsoft.com/office/officeart/2009/3/layout/HorizontalOrganizationChart"/>
    <dgm:cxn modelId="{33B6FF89-48CB-4F36-8695-7E39A8BE45C7}" srcId="{455BC3D0-E347-480A-90B3-8B801382489A}" destId="{5A89C734-54C5-43CA-B57B-270D9FA8E078}" srcOrd="1" destOrd="0" parTransId="{36238EEB-8938-4708-9DF1-4940270A5BBA}" sibTransId="{FE22BEEC-73C4-4133-BE4D-DE750F406BE1}"/>
    <dgm:cxn modelId="{25B09D9D-9A60-456D-B620-F14138A0E03B}" type="presOf" srcId="{84176246-96FD-467B-B883-7597FFE71F64}" destId="{7B3AFAB1-3D0B-41CE-8084-792C150D3A90}" srcOrd="0" destOrd="0" presId="urn:microsoft.com/office/officeart/2009/3/layout/HorizontalOrganizationChart"/>
    <dgm:cxn modelId="{1C3FB4A7-3E92-41CD-8D56-9D51115F2622}" type="presOf" srcId="{AE238B7D-FBD4-42C7-9255-A1F28FBF7AB0}" destId="{B7813D52-6C17-4B5A-8155-AA52F2827680}" srcOrd="0" destOrd="0" presId="urn:microsoft.com/office/officeart/2009/3/layout/HorizontalOrganizationChart"/>
    <dgm:cxn modelId="{E29413AB-5BD9-4A56-B59B-0106AF8A05E3}" type="presOf" srcId="{1EA2FED8-EA28-43E2-86E5-F07F4099A889}" destId="{CF1DFE0E-7A9F-43C5-BC7B-8F4C02828A24}" srcOrd="1" destOrd="0" presId="urn:microsoft.com/office/officeart/2009/3/layout/HorizontalOrganizationChart"/>
    <dgm:cxn modelId="{F2A878B1-6ED4-4FC5-A1D5-280DDE8A2665}" type="presOf" srcId="{84176246-96FD-467B-B883-7597FFE71F64}" destId="{F415D549-0A50-435E-AFCB-BDDFC74C9828}" srcOrd="1" destOrd="0" presId="urn:microsoft.com/office/officeart/2009/3/layout/HorizontalOrganizationChart"/>
    <dgm:cxn modelId="{9B83C3BD-0431-45BC-9B76-9B81EC6DDAB1}" type="presOf" srcId="{455BC3D0-E347-480A-90B3-8B801382489A}" destId="{D54CD301-8086-46BB-86E9-AA4F9A74A139}" srcOrd="0" destOrd="0" presId="urn:microsoft.com/office/officeart/2009/3/layout/HorizontalOrganizationChart"/>
    <dgm:cxn modelId="{FA7675BF-A989-486F-B634-3BF18C2DBAC7}" srcId="{84176246-96FD-467B-B883-7597FFE71F64}" destId="{1EA2FED8-EA28-43E2-86E5-F07F4099A889}" srcOrd="1" destOrd="0" parTransId="{1275F5FB-F0D3-41D2-A4F5-C1231C56D9B6}" sibTransId="{80BA7300-2335-4E3E-A301-695F41C0AE3A}"/>
    <dgm:cxn modelId="{6D6159C2-6072-45C8-8E46-AD7AFD835E1E}" type="presOf" srcId="{149CC44A-FCF3-445E-977E-51BF617A0195}" destId="{A0367830-297B-46FD-B40E-58BCFDB09A4C}" srcOrd="0" destOrd="0" presId="urn:microsoft.com/office/officeart/2009/3/layout/HorizontalOrganizationChart"/>
    <dgm:cxn modelId="{88A4CEC2-39CC-4CBD-922E-692647F6AA48}" type="presOf" srcId="{E3B46A83-C61A-4069-BA30-D3A0EB1551EE}" destId="{C8A9065A-A7A5-43B2-B96A-0D8660C0C64A}" srcOrd="0" destOrd="0" presId="urn:microsoft.com/office/officeart/2009/3/layout/HorizontalOrganizationChart"/>
    <dgm:cxn modelId="{0A262AC6-826D-480B-A828-C896FB4CCE3A}" type="presOf" srcId="{1EA2FED8-EA28-43E2-86E5-F07F4099A889}" destId="{14C257C8-9A5A-4199-8400-B8F1BA216CDD}" srcOrd="0" destOrd="0" presId="urn:microsoft.com/office/officeart/2009/3/layout/HorizontalOrganizationChart"/>
    <dgm:cxn modelId="{D337ACCC-75BA-4D68-AFEE-CA56D4927D90}" type="presOf" srcId="{6FA8FECA-FD21-428A-A7C4-61656CDD1B21}" destId="{E57B647A-4E85-476E-B0F2-05C7E9498437}" srcOrd="0" destOrd="0" presId="urn:microsoft.com/office/officeart/2009/3/layout/HorizontalOrganizationChart"/>
    <dgm:cxn modelId="{C86423CF-6E8C-4B91-B96C-25D325BF28A5}" type="presOf" srcId="{AE238B7D-FBD4-42C7-9255-A1F28FBF7AB0}" destId="{7F954D02-CA06-473C-9B22-24E865D13E88}" srcOrd="1" destOrd="0" presId="urn:microsoft.com/office/officeart/2009/3/layout/HorizontalOrganizationChart"/>
    <dgm:cxn modelId="{36C17FCF-9E79-459F-B03E-EEF296B0729F}" type="presOf" srcId="{5A89C734-54C5-43CA-B57B-270D9FA8E078}" destId="{FF0999A2-A371-438B-9636-8BC14C9A22B5}" srcOrd="0" destOrd="0" presId="urn:microsoft.com/office/officeart/2009/3/layout/HorizontalOrganizationChart"/>
    <dgm:cxn modelId="{557066D3-8A25-435E-97F6-94024A02B0B0}" type="presOf" srcId="{E3B46A83-C61A-4069-BA30-D3A0EB1551EE}" destId="{34F1AA48-0D42-4CEF-8B86-DB808A0645CB}" srcOrd="1" destOrd="0" presId="urn:microsoft.com/office/officeart/2009/3/layout/HorizontalOrganizationChart"/>
    <dgm:cxn modelId="{D4C3B8DD-4D73-4F2D-85A5-536CA5CCB9C2}" type="presOf" srcId="{8F78BC22-B691-4075-9DD6-2DB79D6CD3CF}" destId="{9F2187BD-A438-45F7-B04E-F9CF460E4C0F}" srcOrd="0" destOrd="0" presId="urn:microsoft.com/office/officeart/2009/3/layout/HorizontalOrganizationChart"/>
    <dgm:cxn modelId="{6E5E91E1-5819-4EE1-A4CE-C7833D34077E}" type="presOf" srcId="{1514DAE1-D18A-4C12-A7BB-CBE2B3B7A60A}" destId="{BEE92C3F-5928-45C2-AFAF-03A82F740A80}" srcOrd="0" destOrd="0" presId="urn:microsoft.com/office/officeart/2009/3/layout/HorizontalOrganizationChart"/>
    <dgm:cxn modelId="{345020F0-B7B6-4440-B55F-B6E0F3271724}" srcId="{455BC3D0-E347-480A-90B3-8B801382489A}" destId="{E3B46A83-C61A-4069-BA30-D3A0EB1551EE}" srcOrd="2" destOrd="0" parTransId="{5784E569-B516-4050-8FF9-237BA1A0975A}" sibTransId="{A85D28BC-3BC6-4B35-9FAC-DBFB29B391C4}"/>
    <dgm:cxn modelId="{9952057C-C480-401D-A861-F562FC3482B4}" type="presParOf" srcId="{A567D409-BB3E-4864-AEC8-897C5BFD2AEE}" destId="{13DABFE5-AE15-4D71-A796-4093C3900588}" srcOrd="0" destOrd="0" presId="urn:microsoft.com/office/officeart/2009/3/layout/HorizontalOrganizationChart"/>
    <dgm:cxn modelId="{3F0F832C-A123-498C-B90C-2A505E851B55}" type="presParOf" srcId="{13DABFE5-AE15-4D71-A796-4093C3900588}" destId="{363DCE14-859C-40D2-9D49-22E87187C3DE}" srcOrd="0" destOrd="0" presId="urn:microsoft.com/office/officeart/2009/3/layout/HorizontalOrganizationChart"/>
    <dgm:cxn modelId="{7C867290-4049-4AFF-97E4-4B7811993CED}" type="presParOf" srcId="{363DCE14-859C-40D2-9D49-22E87187C3DE}" destId="{7B3AFAB1-3D0B-41CE-8084-792C150D3A90}" srcOrd="0" destOrd="0" presId="urn:microsoft.com/office/officeart/2009/3/layout/HorizontalOrganizationChart"/>
    <dgm:cxn modelId="{384FB450-3B0A-4FDE-BFA5-CDC879DA3562}" type="presParOf" srcId="{363DCE14-859C-40D2-9D49-22E87187C3DE}" destId="{F415D549-0A50-435E-AFCB-BDDFC74C9828}" srcOrd="1" destOrd="0" presId="urn:microsoft.com/office/officeart/2009/3/layout/HorizontalOrganizationChart"/>
    <dgm:cxn modelId="{DC13FA27-1716-4850-8412-9A4C9ACA8999}" type="presParOf" srcId="{13DABFE5-AE15-4D71-A796-4093C3900588}" destId="{51383AEA-4D72-4A55-B6CF-68F00C4F0BD0}" srcOrd="1" destOrd="0" presId="urn:microsoft.com/office/officeart/2009/3/layout/HorizontalOrganizationChart"/>
    <dgm:cxn modelId="{AB404E10-B98C-4A23-9982-B82D167EAA30}" type="presParOf" srcId="{51383AEA-4D72-4A55-B6CF-68F00C4F0BD0}" destId="{BEE92C3F-5928-45C2-AFAF-03A82F740A80}" srcOrd="0" destOrd="0" presId="urn:microsoft.com/office/officeart/2009/3/layout/HorizontalOrganizationChart"/>
    <dgm:cxn modelId="{DBFDF5AA-9F6A-4069-865E-237E5E38102F}" type="presParOf" srcId="{51383AEA-4D72-4A55-B6CF-68F00C4F0BD0}" destId="{961CE449-BB25-45BC-BB54-1C4FE43D22CF}" srcOrd="1" destOrd="0" presId="urn:microsoft.com/office/officeart/2009/3/layout/HorizontalOrganizationChart"/>
    <dgm:cxn modelId="{254B957F-62BC-420B-B35A-8DB4FF9617B3}" type="presParOf" srcId="{961CE449-BB25-45BC-BB54-1C4FE43D22CF}" destId="{3E19DA19-1709-46B5-9505-8EDA437FBCAA}" srcOrd="0" destOrd="0" presId="urn:microsoft.com/office/officeart/2009/3/layout/HorizontalOrganizationChart"/>
    <dgm:cxn modelId="{946A846F-AFCF-4822-B5A1-A4D50C40D4CE}" type="presParOf" srcId="{3E19DA19-1709-46B5-9505-8EDA437FBCAA}" destId="{7E860E76-4F9E-4821-8118-182994921227}" srcOrd="0" destOrd="0" presId="urn:microsoft.com/office/officeart/2009/3/layout/HorizontalOrganizationChart"/>
    <dgm:cxn modelId="{5ED952A1-25C4-4457-99B1-9AF71CF14944}" type="presParOf" srcId="{3E19DA19-1709-46B5-9505-8EDA437FBCAA}" destId="{E2EE8D1D-B9A0-427A-B161-0B0CA5EA1961}" srcOrd="1" destOrd="0" presId="urn:microsoft.com/office/officeart/2009/3/layout/HorizontalOrganizationChart"/>
    <dgm:cxn modelId="{CB114B5C-6B2D-4ABE-83C0-C4D3744BAB5E}" type="presParOf" srcId="{961CE449-BB25-45BC-BB54-1C4FE43D22CF}" destId="{E31E487C-689A-496B-AE89-3DDF43FC39EC}" srcOrd="1" destOrd="0" presId="urn:microsoft.com/office/officeart/2009/3/layout/HorizontalOrganizationChart"/>
    <dgm:cxn modelId="{BF047F47-405B-40A5-86DB-66C9F7E523E3}" type="presParOf" srcId="{961CE449-BB25-45BC-BB54-1C4FE43D22CF}" destId="{FC0C5007-12C6-40E1-AEF3-70F61D7C222C}" srcOrd="2" destOrd="0" presId="urn:microsoft.com/office/officeart/2009/3/layout/HorizontalOrganizationChart"/>
    <dgm:cxn modelId="{6A5A3E62-F446-4A0D-BE2A-EAEBE6F0D656}" type="presParOf" srcId="{51383AEA-4D72-4A55-B6CF-68F00C4F0BD0}" destId="{3D75CFDE-5DAB-4A9F-A066-D1C8A836DAB7}" srcOrd="2" destOrd="0" presId="urn:microsoft.com/office/officeart/2009/3/layout/HorizontalOrganizationChart"/>
    <dgm:cxn modelId="{90623111-51E8-49A1-B0A5-6BDCA19BC605}" type="presParOf" srcId="{51383AEA-4D72-4A55-B6CF-68F00C4F0BD0}" destId="{98967328-8BE4-4AEE-942D-3B545C8C4109}" srcOrd="3" destOrd="0" presId="urn:microsoft.com/office/officeart/2009/3/layout/HorizontalOrganizationChart"/>
    <dgm:cxn modelId="{21519B3A-52EC-46F7-9C1D-D9CA747DDBF0}" type="presParOf" srcId="{98967328-8BE4-4AEE-942D-3B545C8C4109}" destId="{D790AFC4-6B9E-4982-B36A-BB01A32B4458}" srcOrd="0" destOrd="0" presId="urn:microsoft.com/office/officeart/2009/3/layout/HorizontalOrganizationChart"/>
    <dgm:cxn modelId="{44A16CAC-7162-4BDB-AFF7-80779442EC67}" type="presParOf" srcId="{D790AFC4-6B9E-4982-B36A-BB01A32B4458}" destId="{14C257C8-9A5A-4199-8400-B8F1BA216CDD}" srcOrd="0" destOrd="0" presId="urn:microsoft.com/office/officeart/2009/3/layout/HorizontalOrganizationChart"/>
    <dgm:cxn modelId="{6DD97631-0EF8-492E-9DD7-CD1E479E37A9}" type="presParOf" srcId="{D790AFC4-6B9E-4982-B36A-BB01A32B4458}" destId="{CF1DFE0E-7A9F-43C5-BC7B-8F4C02828A24}" srcOrd="1" destOrd="0" presId="urn:microsoft.com/office/officeart/2009/3/layout/HorizontalOrganizationChart"/>
    <dgm:cxn modelId="{DF5F5867-30DC-45D1-A592-8DE9F4B252CA}" type="presParOf" srcId="{98967328-8BE4-4AEE-942D-3B545C8C4109}" destId="{D12299FE-0D86-4DAB-B377-B0AB5D6FD313}" srcOrd="1" destOrd="0" presId="urn:microsoft.com/office/officeart/2009/3/layout/HorizontalOrganizationChart"/>
    <dgm:cxn modelId="{06D7EBE6-92A3-4D2B-AAD4-69B21EBE6186}" type="presParOf" srcId="{98967328-8BE4-4AEE-942D-3B545C8C4109}" destId="{D420C9B3-6505-4697-9F3F-4CB474C5912F}" srcOrd="2" destOrd="0" presId="urn:microsoft.com/office/officeart/2009/3/layout/HorizontalOrganizationChart"/>
    <dgm:cxn modelId="{153C5DA8-8BF6-4A80-A14D-7211A4C7816B}" type="presParOf" srcId="{51383AEA-4D72-4A55-B6CF-68F00C4F0BD0}" destId="{9F2187BD-A438-45F7-B04E-F9CF460E4C0F}" srcOrd="4" destOrd="0" presId="urn:microsoft.com/office/officeart/2009/3/layout/HorizontalOrganizationChart"/>
    <dgm:cxn modelId="{9268BD29-F858-40F6-9692-60C5D7E68A3D}" type="presParOf" srcId="{51383AEA-4D72-4A55-B6CF-68F00C4F0BD0}" destId="{C407B40B-6434-450D-AE1A-233DAFCCADE7}" srcOrd="5" destOrd="0" presId="urn:microsoft.com/office/officeart/2009/3/layout/HorizontalOrganizationChart"/>
    <dgm:cxn modelId="{2DFB4EC2-8129-4F03-9E70-A604414262CB}" type="presParOf" srcId="{C407B40B-6434-450D-AE1A-233DAFCCADE7}" destId="{130B5994-5722-40A3-8AFA-2B824A32924C}" srcOrd="0" destOrd="0" presId="urn:microsoft.com/office/officeart/2009/3/layout/HorizontalOrganizationChart"/>
    <dgm:cxn modelId="{4A93E7C0-FD92-4E0C-95D9-E35CCCB88F28}" type="presParOf" srcId="{130B5994-5722-40A3-8AFA-2B824A32924C}" destId="{A0367830-297B-46FD-B40E-58BCFDB09A4C}" srcOrd="0" destOrd="0" presId="urn:microsoft.com/office/officeart/2009/3/layout/HorizontalOrganizationChart"/>
    <dgm:cxn modelId="{E5134EFF-7406-45E6-AB8F-EAA69B573F72}" type="presParOf" srcId="{130B5994-5722-40A3-8AFA-2B824A32924C}" destId="{59FE0573-3617-4B79-8E0C-E0A493FE1757}" srcOrd="1" destOrd="0" presId="urn:microsoft.com/office/officeart/2009/3/layout/HorizontalOrganizationChart"/>
    <dgm:cxn modelId="{38C03318-3229-45AF-938A-67473C73D499}" type="presParOf" srcId="{C407B40B-6434-450D-AE1A-233DAFCCADE7}" destId="{A68EFAA4-D022-413F-B15F-382A12F3E906}" srcOrd="1" destOrd="0" presId="urn:microsoft.com/office/officeart/2009/3/layout/HorizontalOrganizationChart"/>
    <dgm:cxn modelId="{E98DA7D1-EF17-4B71-8C65-1D019F6FDCCA}" type="presParOf" srcId="{C407B40B-6434-450D-AE1A-233DAFCCADE7}" destId="{499F9E8A-D4A0-4566-BD0E-F8895BE75397}" srcOrd="2" destOrd="0" presId="urn:microsoft.com/office/officeart/2009/3/layout/HorizontalOrganizationChart"/>
    <dgm:cxn modelId="{C5F31A43-D088-45D2-AD20-014DB8A1F893}" type="presParOf" srcId="{13DABFE5-AE15-4D71-A796-4093C3900588}" destId="{2C5A1E61-E6F2-4526-BD5E-BD604396F57E}" srcOrd="2" destOrd="0" presId="urn:microsoft.com/office/officeart/2009/3/layout/HorizontalOrganizationChart"/>
    <dgm:cxn modelId="{7314C473-1DC4-4AA9-AC25-07BF89A0B0CC}" type="presParOf" srcId="{A567D409-BB3E-4864-AEC8-897C5BFD2AEE}" destId="{6B740B07-C1B6-4E2C-959F-414A28EC4200}" srcOrd="1" destOrd="0" presId="urn:microsoft.com/office/officeart/2009/3/layout/HorizontalOrganizationChart"/>
    <dgm:cxn modelId="{A0106C60-1DB7-4075-986E-0B0263974CC8}" type="presParOf" srcId="{6B740B07-C1B6-4E2C-959F-414A28EC4200}" destId="{0A6F9E71-161C-44CD-BF3B-FF11580E2943}" srcOrd="0" destOrd="0" presId="urn:microsoft.com/office/officeart/2009/3/layout/HorizontalOrganizationChart"/>
    <dgm:cxn modelId="{1ECB6C9F-8A4F-4F6D-B5A9-D6C8BB0E3E23}" type="presParOf" srcId="{0A6F9E71-161C-44CD-BF3B-FF11580E2943}" destId="{D54CD301-8086-46BB-86E9-AA4F9A74A139}" srcOrd="0" destOrd="0" presId="urn:microsoft.com/office/officeart/2009/3/layout/HorizontalOrganizationChart"/>
    <dgm:cxn modelId="{151F6A3E-EE66-462E-B24C-7485E71E71D1}" type="presParOf" srcId="{0A6F9E71-161C-44CD-BF3B-FF11580E2943}" destId="{7B503E3B-6C2D-4C13-9A05-01CE0561B7DB}" srcOrd="1" destOrd="0" presId="urn:microsoft.com/office/officeart/2009/3/layout/HorizontalOrganizationChart"/>
    <dgm:cxn modelId="{14C7DF7B-E069-4BB5-8FF0-58DA4600D16F}" type="presParOf" srcId="{6B740B07-C1B6-4E2C-959F-414A28EC4200}" destId="{C085B105-A00D-4883-91F1-30E748745D55}" srcOrd="1" destOrd="0" presId="urn:microsoft.com/office/officeart/2009/3/layout/HorizontalOrganizationChart"/>
    <dgm:cxn modelId="{7F3E9404-9007-4508-990B-6D88135BD163}" type="presParOf" srcId="{C085B105-A00D-4883-91F1-30E748745D55}" destId="{E57B647A-4E85-476E-B0F2-05C7E9498437}" srcOrd="0" destOrd="0" presId="urn:microsoft.com/office/officeart/2009/3/layout/HorizontalOrganizationChart"/>
    <dgm:cxn modelId="{202DDB1B-F0D8-4A52-BF6C-A9B4E68BCEEB}" type="presParOf" srcId="{C085B105-A00D-4883-91F1-30E748745D55}" destId="{A13AD376-8DCA-40C1-B01B-F81A43EDAD44}" srcOrd="1" destOrd="0" presId="urn:microsoft.com/office/officeart/2009/3/layout/HorizontalOrganizationChart"/>
    <dgm:cxn modelId="{24A8D207-A7AB-4693-BB90-ADB82615D177}" type="presParOf" srcId="{A13AD376-8DCA-40C1-B01B-F81A43EDAD44}" destId="{4555ED77-F427-4B7E-92A1-A57BB7E5FAF9}" srcOrd="0" destOrd="0" presId="urn:microsoft.com/office/officeart/2009/3/layout/HorizontalOrganizationChart"/>
    <dgm:cxn modelId="{4DCEE70A-ECFE-482A-B41C-23E9A3950ACE}" type="presParOf" srcId="{4555ED77-F427-4B7E-92A1-A57BB7E5FAF9}" destId="{B7813D52-6C17-4B5A-8155-AA52F2827680}" srcOrd="0" destOrd="0" presId="urn:microsoft.com/office/officeart/2009/3/layout/HorizontalOrganizationChart"/>
    <dgm:cxn modelId="{564233F0-8BE3-4273-A70E-F8C7A571E938}" type="presParOf" srcId="{4555ED77-F427-4B7E-92A1-A57BB7E5FAF9}" destId="{7F954D02-CA06-473C-9B22-24E865D13E88}" srcOrd="1" destOrd="0" presId="urn:microsoft.com/office/officeart/2009/3/layout/HorizontalOrganizationChart"/>
    <dgm:cxn modelId="{A5258B0F-CCF4-4653-B8DD-69A8B3234AB9}" type="presParOf" srcId="{A13AD376-8DCA-40C1-B01B-F81A43EDAD44}" destId="{10E12931-AF7B-49D4-994D-AEA6B0E0CBB2}" srcOrd="1" destOrd="0" presId="urn:microsoft.com/office/officeart/2009/3/layout/HorizontalOrganizationChart"/>
    <dgm:cxn modelId="{D2F58229-4A46-401A-A444-D28E4454A6B3}" type="presParOf" srcId="{A13AD376-8DCA-40C1-B01B-F81A43EDAD44}" destId="{D01E0E68-5FEF-41F7-BADA-903D28E40E45}" srcOrd="2" destOrd="0" presId="urn:microsoft.com/office/officeart/2009/3/layout/HorizontalOrganizationChart"/>
    <dgm:cxn modelId="{E18C16C1-6BCF-47A6-B39F-938B5553219D}" type="presParOf" srcId="{C085B105-A00D-4883-91F1-30E748745D55}" destId="{08CF8413-0EEB-43DB-8CFA-C41D58448CE6}" srcOrd="2" destOrd="0" presId="urn:microsoft.com/office/officeart/2009/3/layout/HorizontalOrganizationChart"/>
    <dgm:cxn modelId="{289EA12A-F942-4EE9-9EAF-96FE1356B337}" type="presParOf" srcId="{C085B105-A00D-4883-91F1-30E748745D55}" destId="{DF68DFC9-E2D8-4416-A26F-F4A2A90CA977}" srcOrd="3" destOrd="0" presId="urn:microsoft.com/office/officeart/2009/3/layout/HorizontalOrganizationChart"/>
    <dgm:cxn modelId="{8713EBA9-4466-4D45-9DAB-E826C962F674}" type="presParOf" srcId="{DF68DFC9-E2D8-4416-A26F-F4A2A90CA977}" destId="{912A5442-21BC-4631-BCFD-31C3CBA24AB1}" srcOrd="0" destOrd="0" presId="urn:microsoft.com/office/officeart/2009/3/layout/HorizontalOrganizationChart"/>
    <dgm:cxn modelId="{119D3C1A-88CA-4513-9F5D-83D66075B2A6}" type="presParOf" srcId="{912A5442-21BC-4631-BCFD-31C3CBA24AB1}" destId="{FF0999A2-A371-438B-9636-8BC14C9A22B5}" srcOrd="0" destOrd="0" presId="urn:microsoft.com/office/officeart/2009/3/layout/HorizontalOrganizationChart"/>
    <dgm:cxn modelId="{A1E8F91D-24BF-43FB-BCB6-5C1B53BD4195}" type="presParOf" srcId="{912A5442-21BC-4631-BCFD-31C3CBA24AB1}" destId="{CB90CA1C-2FB6-4AE9-BFFF-48C7C351C3F0}" srcOrd="1" destOrd="0" presId="urn:microsoft.com/office/officeart/2009/3/layout/HorizontalOrganizationChart"/>
    <dgm:cxn modelId="{1634F8B6-0FA3-4F58-88A0-9CDAFE2248FB}" type="presParOf" srcId="{DF68DFC9-E2D8-4416-A26F-F4A2A90CA977}" destId="{58F28690-9732-4C71-A967-9655AC72A874}" srcOrd="1" destOrd="0" presId="urn:microsoft.com/office/officeart/2009/3/layout/HorizontalOrganizationChart"/>
    <dgm:cxn modelId="{A2A46AFF-CB18-4BEA-864B-5DFD14F22EBA}" type="presParOf" srcId="{DF68DFC9-E2D8-4416-A26F-F4A2A90CA977}" destId="{41971D7F-D614-4EF2-B01B-7D9109E2E019}" srcOrd="2" destOrd="0" presId="urn:microsoft.com/office/officeart/2009/3/layout/HorizontalOrganizationChart"/>
    <dgm:cxn modelId="{4F441C12-9178-400D-AF15-1301C2D661D9}" type="presParOf" srcId="{C085B105-A00D-4883-91F1-30E748745D55}" destId="{FC194065-8BB9-40A4-8875-C19BF6770BD1}" srcOrd="4" destOrd="0" presId="urn:microsoft.com/office/officeart/2009/3/layout/HorizontalOrganizationChart"/>
    <dgm:cxn modelId="{7EB41924-FCC8-49F5-9EAB-04919F9B132B}" type="presParOf" srcId="{C085B105-A00D-4883-91F1-30E748745D55}" destId="{D4F39A8B-7951-4181-A5E3-68155C281AEC}" srcOrd="5" destOrd="0" presId="urn:microsoft.com/office/officeart/2009/3/layout/HorizontalOrganizationChart"/>
    <dgm:cxn modelId="{34C0B4E4-CEF2-4915-A899-FD31D78BF04A}" type="presParOf" srcId="{D4F39A8B-7951-4181-A5E3-68155C281AEC}" destId="{F514D14A-DE8B-4424-9EBC-BA3823C53A52}" srcOrd="0" destOrd="0" presId="urn:microsoft.com/office/officeart/2009/3/layout/HorizontalOrganizationChart"/>
    <dgm:cxn modelId="{E8A842C6-9D21-459A-BE76-1BFBF22B563D}" type="presParOf" srcId="{F514D14A-DE8B-4424-9EBC-BA3823C53A52}" destId="{C8A9065A-A7A5-43B2-B96A-0D8660C0C64A}" srcOrd="0" destOrd="0" presId="urn:microsoft.com/office/officeart/2009/3/layout/HorizontalOrganizationChart"/>
    <dgm:cxn modelId="{4DF2CB4C-D125-42AB-94F3-77BC7DDF4694}" type="presParOf" srcId="{F514D14A-DE8B-4424-9EBC-BA3823C53A52}" destId="{34F1AA48-0D42-4CEF-8B86-DB808A0645CB}" srcOrd="1" destOrd="0" presId="urn:microsoft.com/office/officeart/2009/3/layout/HorizontalOrganizationChart"/>
    <dgm:cxn modelId="{5254C8AA-BA44-45B2-9FBF-CC354B1A93DD}" type="presParOf" srcId="{D4F39A8B-7951-4181-A5E3-68155C281AEC}" destId="{56665E4C-F952-4577-A516-1FD4C894EF8E}" srcOrd="1" destOrd="0" presId="urn:microsoft.com/office/officeart/2009/3/layout/HorizontalOrganizationChart"/>
    <dgm:cxn modelId="{DFB254DB-0F74-4744-8E09-A7C2F66BB892}" type="presParOf" srcId="{D4F39A8B-7951-4181-A5E3-68155C281AEC}" destId="{032AE0CC-8475-42FF-AFEB-4DA7DBD20EC8}" srcOrd="2" destOrd="0" presId="urn:microsoft.com/office/officeart/2009/3/layout/HorizontalOrganizationChart"/>
    <dgm:cxn modelId="{4B99CA6F-2EA9-493F-BB35-FD0203C57577}" type="presParOf" srcId="{6B740B07-C1B6-4E2C-959F-414A28EC4200}" destId="{B5767B7F-2C47-4D48-B103-E5C8454F0CCA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718A29F-B205-4410-87AC-4CD49B63708B}" type="doc">
      <dgm:prSet loTypeId="urn:microsoft.com/office/officeart/2005/8/layout/defaul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587F28AF-938E-4AB2-BE59-9B8FEB743EBE}">
      <dgm:prSet/>
      <dgm:spPr/>
      <dgm:t>
        <a:bodyPr/>
        <a:lstStyle/>
        <a:p>
          <a:pPr marL="0">
            <a:lnSpc>
              <a:spcPct val="90000"/>
            </a:lnSpc>
            <a:buNone/>
          </a:pPr>
          <a:r>
            <a:rPr lang="en-GB" sz="3300" baseline="0">
              <a:solidFill>
                <a:srgbClr val="F2C811"/>
              </a:solidFill>
            </a:rPr>
            <a:t>Corporate BI</a:t>
          </a:r>
          <a:endParaRPr lang="en-GB" sz="3300" dirty="0">
            <a:solidFill>
              <a:srgbClr val="F2C811"/>
            </a:solidFill>
          </a:endParaRPr>
        </a:p>
      </dgm:t>
    </dgm:pt>
    <dgm:pt modelId="{126C6C3D-D951-40AA-B036-2F2A2A71CB35}" type="parTrans" cxnId="{FA0756C9-DE8D-4224-86CE-25123F9485AB}">
      <dgm:prSet/>
      <dgm:spPr/>
      <dgm:t>
        <a:bodyPr/>
        <a:lstStyle/>
        <a:p>
          <a:endParaRPr lang="en-US"/>
        </a:p>
      </dgm:t>
    </dgm:pt>
    <dgm:pt modelId="{627E7EDD-C7FE-4931-9065-1D376AC1B13C}" type="sibTrans" cxnId="{FA0756C9-DE8D-4224-86CE-25123F9485AB}">
      <dgm:prSet/>
      <dgm:spPr/>
      <dgm:t>
        <a:bodyPr/>
        <a:lstStyle/>
        <a:p>
          <a:endParaRPr lang="en-US"/>
        </a:p>
      </dgm:t>
    </dgm:pt>
    <dgm:pt modelId="{4333A816-6ACF-4842-BBA4-7A9FC0986BC1}">
      <dgm:prSet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baseline="0" dirty="0"/>
            <a:t>Product evaluation</a:t>
          </a:r>
          <a:endParaRPr lang="en-GB" sz="2000" dirty="0"/>
        </a:p>
      </dgm:t>
    </dgm:pt>
    <dgm:pt modelId="{F73B7C02-4916-4309-A6E5-916D538E7FBD}" type="parTrans" cxnId="{D00FC633-7C51-4167-8A5B-011278057F23}">
      <dgm:prSet/>
      <dgm:spPr/>
      <dgm:t>
        <a:bodyPr/>
        <a:lstStyle/>
        <a:p>
          <a:endParaRPr lang="en-US"/>
        </a:p>
      </dgm:t>
    </dgm:pt>
    <dgm:pt modelId="{F06563C8-7C5A-45EF-90E9-968DAD31449F}" type="sibTrans" cxnId="{D00FC633-7C51-4167-8A5B-011278057F23}">
      <dgm:prSet/>
      <dgm:spPr/>
      <dgm:t>
        <a:bodyPr/>
        <a:lstStyle/>
        <a:p>
          <a:endParaRPr lang="en-US"/>
        </a:p>
      </dgm:t>
    </dgm:pt>
    <dgm:pt modelId="{430D3227-D232-458B-B98D-6D38C64B74C3}">
      <dgm:prSet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baseline="0" dirty="0"/>
            <a:t>Governance and security standards</a:t>
          </a:r>
          <a:endParaRPr lang="en-GB" sz="2000" dirty="0"/>
        </a:p>
      </dgm:t>
    </dgm:pt>
    <dgm:pt modelId="{270FA6A4-FEBB-4804-9231-BE62A4C7DF1E}" type="parTrans" cxnId="{EA689F71-7492-4F37-8118-8147BF72CD53}">
      <dgm:prSet/>
      <dgm:spPr/>
      <dgm:t>
        <a:bodyPr/>
        <a:lstStyle/>
        <a:p>
          <a:endParaRPr lang="en-US"/>
        </a:p>
      </dgm:t>
    </dgm:pt>
    <dgm:pt modelId="{DC158A54-6827-4B23-AB97-1341D194A1DA}" type="sibTrans" cxnId="{EA689F71-7492-4F37-8118-8147BF72CD53}">
      <dgm:prSet/>
      <dgm:spPr/>
      <dgm:t>
        <a:bodyPr/>
        <a:lstStyle/>
        <a:p>
          <a:endParaRPr lang="en-US"/>
        </a:p>
      </dgm:t>
    </dgm:pt>
    <dgm:pt modelId="{E2861460-7AC6-4148-82B4-514C8C5ED18B}">
      <dgm:prSet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baseline="0" dirty="0"/>
            <a:t>Infrastructure setup</a:t>
          </a:r>
          <a:endParaRPr lang="en-GB" sz="2000" dirty="0"/>
        </a:p>
      </dgm:t>
    </dgm:pt>
    <dgm:pt modelId="{955F3D32-FD86-4585-9046-B55D0350C183}" type="parTrans" cxnId="{FAD89D23-61AB-4464-ADD1-08BC080303FB}">
      <dgm:prSet/>
      <dgm:spPr/>
      <dgm:t>
        <a:bodyPr/>
        <a:lstStyle/>
        <a:p>
          <a:endParaRPr lang="en-US"/>
        </a:p>
      </dgm:t>
    </dgm:pt>
    <dgm:pt modelId="{04E11991-1414-4FC2-904A-81FB0706AB6C}" type="sibTrans" cxnId="{FAD89D23-61AB-4464-ADD1-08BC080303FB}">
      <dgm:prSet/>
      <dgm:spPr/>
      <dgm:t>
        <a:bodyPr/>
        <a:lstStyle/>
        <a:p>
          <a:endParaRPr lang="en-US"/>
        </a:p>
      </dgm:t>
    </dgm:pt>
    <dgm:pt modelId="{F2A1FCC7-E74D-4CB6-8E63-46290A86B36C}">
      <dgm:prSet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baseline="0" dirty="0"/>
            <a:t>Support structure</a:t>
          </a:r>
          <a:endParaRPr lang="en-GB" sz="2000" dirty="0"/>
        </a:p>
      </dgm:t>
    </dgm:pt>
    <dgm:pt modelId="{C719A02D-5CF0-4730-BCE3-88352D955472}" type="parTrans" cxnId="{6145587E-0D5E-4BC4-8B7B-5745A3D7A4D2}">
      <dgm:prSet/>
      <dgm:spPr/>
      <dgm:t>
        <a:bodyPr/>
        <a:lstStyle/>
        <a:p>
          <a:endParaRPr lang="en-US"/>
        </a:p>
      </dgm:t>
    </dgm:pt>
    <dgm:pt modelId="{2EDD5343-7DFA-4116-AC3B-F43B1B8D7657}" type="sibTrans" cxnId="{6145587E-0D5E-4BC4-8B7B-5745A3D7A4D2}">
      <dgm:prSet/>
      <dgm:spPr/>
      <dgm:t>
        <a:bodyPr/>
        <a:lstStyle/>
        <a:p>
          <a:endParaRPr lang="en-US"/>
        </a:p>
      </dgm:t>
    </dgm:pt>
    <dgm:pt modelId="{0D19F3B8-55C7-49A8-A933-C710DD020EB1}">
      <dgm:prSet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baseline="0" dirty="0"/>
            <a:t>IT led solution delivery</a:t>
          </a:r>
          <a:endParaRPr lang="en-GB" sz="2000" dirty="0"/>
        </a:p>
      </dgm:t>
    </dgm:pt>
    <dgm:pt modelId="{04C1CF4B-9103-484B-8FFC-0112B7950A66}" type="parTrans" cxnId="{BBF1FF25-6D8B-47BC-A521-8C165542A71B}">
      <dgm:prSet/>
      <dgm:spPr/>
      <dgm:t>
        <a:bodyPr/>
        <a:lstStyle/>
        <a:p>
          <a:endParaRPr lang="en-US"/>
        </a:p>
      </dgm:t>
    </dgm:pt>
    <dgm:pt modelId="{ACDD0113-AEFE-4F2F-B3CA-67804D5508FF}" type="sibTrans" cxnId="{BBF1FF25-6D8B-47BC-A521-8C165542A71B}">
      <dgm:prSet/>
      <dgm:spPr/>
      <dgm:t>
        <a:bodyPr/>
        <a:lstStyle/>
        <a:p>
          <a:endParaRPr lang="en-US"/>
        </a:p>
      </dgm:t>
    </dgm:pt>
    <dgm:pt modelId="{D0FEDA00-8F1C-4260-9C38-C6F498D97E38}">
      <dgm:prSet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baseline="0" dirty="0"/>
            <a:t>Training Program</a:t>
          </a:r>
          <a:endParaRPr lang="en-GB" sz="2000" dirty="0"/>
        </a:p>
      </dgm:t>
    </dgm:pt>
    <dgm:pt modelId="{50DA1497-2160-4279-9478-0D2EF3BDA841}" type="parTrans" cxnId="{EE2039F6-09C3-4CFE-A728-4FD62D173DA9}">
      <dgm:prSet/>
      <dgm:spPr/>
      <dgm:t>
        <a:bodyPr/>
        <a:lstStyle/>
        <a:p>
          <a:endParaRPr lang="en-US"/>
        </a:p>
      </dgm:t>
    </dgm:pt>
    <dgm:pt modelId="{F0A33792-990D-4B1C-A2B8-185EB80DBBE3}" type="sibTrans" cxnId="{EE2039F6-09C3-4CFE-A728-4FD62D173DA9}">
      <dgm:prSet/>
      <dgm:spPr/>
      <dgm:t>
        <a:bodyPr/>
        <a:lstStyle/>
        <a:p>
          <a:endParaRPr lang="en-US"/>
        </a:p>
      </dgm:t>
    </dgm:pt>
    <dgm:pt modelId="{54F93565-52ED-4576-BC7D-0AF92CADD310}">
      <dgm:prSet/>
      <dgm:spPr/>
      <dgm:t>
        <a:bodyPr/>
        <a:lstStyle/>
        <a:p>
          <a:pPr marL="0">
            <a:lnSpc>
              <a:spcPct val="90000"/>
            </a:lnSpc>
            <a:buNone/>
          </a:pPr>
          <a:r>
            <a:rPr lang="en-GB" sz="3300" baseline="0" dirty="0">
              <a:solidFill>
                <a:srgbClr val="F2C811"/>
              </a:solidFill>
            </a:rPr>
            <a:t>Business-Led Self Service BI</a:t>
          </a:r>
          <a:endParaRPr lang="en-GB" sz="3300" dirty="0">
            <a:solidFill>
              <a:srgbClr val="F2C811"/>
            </a:solidFill>
          </a:endParaRPr>
        </a:p>
      </dgm:t>
    </dgm:pt>
    <dgm:pt modelId="{E945A0DC-6443-440E-9015-4C0FC81094BB}" type="parTrans" cxnId="{E7AB4C82-E44F-4646-BD5E-F6E73BC10BE9}">
      <dgm:prSet/>
      <dgm:spPr/>
      <dgm:t>
        <a:bodyPr/>
        <a:lstStyle/>
        <a:p>
          <a:endParaRPr lang="en-US"/>
        </a:p>
      </dgm:t>
    </dgm:pt>
    <dgm:pt modelId="{AADD4544-3179-4875-90F2-9F8969A8563D}" type="sibTrans" cxnId="{E7AB4C82-E44F-4646-BD5E-F6E73BC10BE9}">
      <dgm:prSet/>
      <dgm:spPr/>
      <dgm:t>
        <a:bodyPr/>
        <a:lstStyle/>
        <a:p>
          <a:endParaRPr lang="en-US"/>
        </a:p>
      </dgm:t>
    </dgm:pt>
    <dgm:pt modelId="{E8FC284B-5DCB-4308-9A62-38C2B2321EFF}">
      <dgm:prSet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baseline="0" dirty="0"/>
            <a:t>Build on the foundation laid down by IT</a:t>
          </a:r>
          <a:endParaRPr lang="en-GB" sz="2000" dirty="0"/>
        </a:p>
      </dgm:t>
    </dgm:pt>
    <dgm:pt modelId="{29C48661-EFBC-4768-90E0-C18D92244C13}" type="parTrans" cxnId="{3B06F1A6-FF19-4A17-A32A-79186945183D}">
      <dgm:prSet/>
      <dgm:spPr/>
      <dgm:t>
        <a:bodyPr/>
        <a:lstStyle/>
        <a:p>
          <a:endParaRPr lang="en-US"/>
        </a:p>
      </dgm:t>
    </dgm:pt>
    <dgm:pt modelId="{114CD63A-CADC-41AA-9CF2-F25913C54375}" type="sibTrans" cxnId="{3B06F1A6-FF19-4A17-A32A-79186945183D}">
      <dgm:prSet/>
      <dgm:spPr/>
      <dgm:t>
        <a:bodyPr/>
        <a:lstStyle/>
        <a:p>
          <a:endParaRPr lang="en-US"/>
        </a:p>
      </dgm:t>
    </dgm:pt>
    <dgm:pt modelId="{2C0B3D2C-C6DA-4330-B3D6-823D30D72F5E}">
      <dgm:prSet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baseline="0" dirty="0"/>
            <a:t>Identification of Power BI Champions</a:t>
          </a:r>
          <a:endParaRPr lang="en-GB" sz="2000" dirty="0"/>
        </a:p>
      </dgm:t>
    </dgm:pt>
    <dgm:pt modelId="{7157FD6F-A81A-4F04-BC33-F6F35DFE88F6}" type="parTrans" cxnId="{9C3DA3F0-3F9D-4E92-92CE-1E37EE6EC605}">
      <dgm:prSet/>
      <dgm:spPr/>
      <dgm:t>
        <a:bodyPr/>
        <a:lstStyle/>
        <a:p>
          <a:endParaRPr lang="en-US"/>
        </a:p>
      </dgm:t>
    </dgm:pt>
    <dgm:pt modelId="{02E813CB-0205-4DAD-AE26-D1242B22C317}" type="sibTrans" cxnId="{9C3DA3F0-3F9D-4E92-92CE-1E37EE6EC605}">
      <dgm:prSet/>
      <dgm:spPr/>
      <dgm:t>
        <a:bodyPr/>
        <a:lstStyle/>
        <a:p>
          <a:endParaRPr lang="en-US"/>
        </a:p>
      </dgm:t>
    </dgm:pt>
    <dgm:pt modelId="{2C6DED75-06EC-4EB0-967D-9D8178E4C005}">
      <dgm:prSet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baseline="0" dirty="0"/>
            <a:t>Roll-out at a team/department level</a:t>
          </a:r>
          <a:endParaRPr lang="en-GB" sz="2000" dirty="0"/>
        </a:p>
      </dgm:t>
    </dgm:pt>
    <dgm:pt modelId="{23238CB2-DD1C-4285-BC05-C32C90DCE8DC}" type="parTrans" cxnId="{68C3BA20-246D-4E33-9EE8-EDAE82D539BD}">
      <dgm:prSet/>
      <dgm:spPr/>
      <dgm:t>
        <a:bodyPr/>
        <a:lstStyle/>
        <a:p>
          <a:endParaRPr lang="en-GB"/>
        </a:p>
      </dgm:t>
    </dgm:pt>
    <dgm:pt modelId="{9A122CD5-A802-4E4B-9C22-70BF0E2AD6CE}" type="sibTrans" cxnId="{68C3BA20-246D-4E33-9EE8-EDAE82D539BD}">
      <dgm:prSet/>
      <dgm:spPr/>
      <dgm:t>
        <a:bodyPr/>
        <a:lstStyle/>
        <a:p>
          <a:endParaRPr lang="en-GB"/>
        </a:p>
      </dgm:t>
    </dgm:pt>
    <dgm:pt modelId="{29FB2F4C-61BC-4459-A149-DA1F80C31612}" type="pres">
      <dgm:prSet presAssocID="{5718A29F-B205-4410-87AC-4CD49B63708B}" presName="diagram" presStyleCnt="0">
        <dgm:presLayoutVars>
          <dgm:dir/>
          <dgm:resizeHandles val="exact"/>
        </dgm:presLayoutVars>
      </dgm:prSet>
      <dgm:spPr/>
    </dgm:pt>
    <dgm:pt modelId="{197480A1-BFDC-4298-B195-411692E751F5}" type="pres">
      <dgm:prSet presAssocID="{587F28AF-938E-4AB2-BE59-9B8FEB743EBE}" presName="node" presStyleLbl="node1" presStyleIdx="0" presStyleCnt="2" custScaleY="131601">
        <dgm:presLayoutVars>
          <dgm:bulletEnabled val="1"/>
        </dgm:presLayoutVars>
      </dgm:prSet>
      <dgm:spPr/>
    </dgm:pt>
    <dgm:pt modelId="{3A207E7A-261B-47F5-B46A-DA1EB7BC477B}" type="pres">
      <dgm:prSet presAssocID="{627E7EDD-C7FE-4931-9065-1D376AC1B13C}" presName="sibTrans" presStyleCnt="0"/>
      <dgm:spPr/>
    </dgm:pt>
    <dgm:pt modelId="{9C0711DF-9261-4564-AFC3-163E9BED3EB0}" type="pres">
      <dgm:prSet presAssocID="{54F93565-52ED-4576-BC7D-0AF92CADD310}" presName="node" presStyleLbl="node1" presStyleIdx="1" presStyleCnt="2" custScaleY="130809">
        <dgm:presLayoutVars>
          <dgm:bulletEnabled val="1"/>
        </dgm:presLayoutVars>
      </dgm:prSet>
      <dgm:spPr/>
    </dgm:pt>
  </dgm:ptLst>
  <dgm:cxnLst>
    <dgm:cxn modelId="{68C3BA20-246D-4E33-9EE8-EDAE82D539BD}" srcId="{54F93565-52ED-4576-BC7D-0AF92CADD310}" destId="{2C6DED75-06EC-4EB0-967D-9D8178E4C005}" srcOrd="2" destOrd="0" parTransId="{23238CB2-DD1C-4285-BC05-C32C90DCE8DC}" sibTransId="{9A122CD5-A802-4E4B-9C22-70BF0E2AD6CE}"/>
    <dgm:cxn modelId="{FAD89D23-61AB-4464-ADD1-08BC080303FB}" srcId="{587F28AF-938E-4AB2-BE59-9B8FEB743EBE}" destId="{E2861460-7AC6-4148-82B4-514C8C5ED18B}" srcOrd="2" destOrd="0" parTransId="{955F3D32-FD86-4585-9046-B55D0350C183}" sibTransId="{04E11991-1414-4FC2-904A-81FB0706AB6C}"/>
    <dgm:cxn modelId="{BBF1FF25-6D8B-47BC-A521-8C165542A71B}" srcId="{587F28AF-938E-4AB2-BE59-9B8FEB743EBE}" destId="{0D19F3B8-55C7-49A8-A933-C710DD020EB1}" srcOrd="4" destOrd="0" parTransId="{04C1CF4B-9103-484B-8FFC-0112B7950A66}" sibTransId="{ACDD0113-AEFE-4F2F-B3CA-67804D5508FF}"/>
    <dgm:cxn modelId="{D00FC633-7C51-4167-8A5B-011278057F23}" srcId="{587F28AF-938E-4AB2-BE59-9B8FEB743EBE}" destId="{4333A816-6ACF-4842-BBA4-7A9FC0986BC1}" srcOrd="0" destOrd="0" parTransId="{F73B7C02-4916-4309-A6E5-916D538E7FBD}" sibTransId="{F06563C8-7C5A-45EF-90E9-968DAD31449F}"/>
    <dgm:cxn modelId="{9BBDDF44-AB23-4423-958B-7D9F454F219E}" type="presOf" srcId="{D0FEDA00-8F1C-4260-9C38-C6F498D97E38}" destId="{197480A1-BFDC-4298-B195-411692E751F5}" srcOrd="0" destOrd="6" presId="urn:microsoft.com/office/officeart/2005/8/layout/default"/>
    <dgm:cxn modelId="{C1E20A47-5D45-4230-96FE-6F15E326C943}" type="presOf" srcId="{54F93565-52ED-4576-BC7D-0AF92CADD310}" destId="{9C0711DF-9261-4564-AFC3-163E9BED3EB0}" srcOrd="0" destOrd="0" presId="urn:microsoft.com/office/officeart/2005/8/layout/default"/>
    <dgm:cxn modelId="{3D7BEF48-1867-4DDB-BD89-6547E1EFC209}" type="presOf" srcId="{587F28AF-938E-4AB2-BE59-9B8FEB743EBE}" destId="{197480A1-BFDC-4298-B195-411692E751F5}" srcOrd="0" destOrd="0" presId="urn:microsoft.com/office/officeart/2005/8/layout/default"/>
    <dgm:cxn modelId="{EA689F71-7492-4F37-8118-8147BF72CD53}" srcId="{587F28AF-938E-4AB2-BE59-9B8FEB743EBE}" destId="{430D3227-D232-458B-B98D-6D38C64B74C3}" srcOrd="1" destOrd="0" parTransId="{270FA6A4-FEBB-4804-9231-BE62A4C7DF1E}" sibTransId="{DC158A54-6827-4B23-AB97-1341D194A1DA}"/>
    <dgm:cxn modelId="{B4B2F055-99D7-490B-B791-E4E160675BC8}" type="presOf" srcId="{E2861460-7AC6-4148-82B4-514C8C5ED18B}" destId="{197480A1-BFDC-4298-B195-411692E751F5}" srcOrd="0" destOrd="3" presId="urn:microsoft.com/office/officeart/2005/8/layout/default"/>
    <dgm:cxn modelId="{6145587E-0D5E-4BC4-8B7B-5745A3D7A4D2}" srcId="{587F28AF-938E-4AB2-BE59-9B8FEB743EBE}" destId="{F2A1FCC7-E74D-4CB6-8E63-46290A86B36C}" srcOrd="3" destOrd="0" parTransId="{C719A02D-5CF0-4730-BCE3-88352D955472}" sibTransId="{2EDD5343-7DFA-4116-AC3B-F43B1B8D7657}"/>
    <dgm:cxn modelId="{E7AB4C82-E44F-4646-BD5E-F6E73BC10BE9}" srcId="{5718A29F-B205-4410-87AC-4CD49B63708B}" destId="{54F93565-52ED-4576-BC7D-0AF92CADD310}" srcOrd="1" destOrd="0" parTransId="{E945A0DC-6443-440E-9015-4C0FC81094BB}" sibTransId="{AADD4544-3179-4875-90F2-9F8969A8563D}"/>
    <dgm:cxn modelId="{C5297390-0FFA-43E9-8647-883C9633400C}" type="presOf" srcId="{5718A29F-B205-4410-87AC-4CD49B63708B}" destId="{29FB2F4C-61BC-4459-A149-DA1F80C31612}" srcOrd="0" destOrd="0" presId="urn:microsoft.com/office/officeart/2005/8/layout/default"/>
    <dgm:cxn modelId="{3B06F1A6-FF19-4A17-A32A-79186945183D}" srcId="{54F93565-52ED-4576-BC7D-0AF92CADD310}" destId="{E8FC284B-5DCB-4308-9A62-38C2B2321EFF}" srcOrd="0" destOrd="0" parTransId="{29C48661-EFBC-4768-90E0-C18D92244C13}" sibTransId="{114CD63A-CADC-41AA-9CF2-F25913C54375}"/>
    <dgm:cxn modelId="{8B24EAA9-51BB-44C2-9C9D-AE5B410E2C64}" type="presOf" srcId="{4333A816-6ACF-4842-BBA4-7A9FC0986BC1}" destId="{197480A1-BFDC-4298-B195-411692E751F5}" srcOrd="0" destOrd="1" presId="urn:microsoft.com/office/officeart/2005/8/layout/default"/>
    <dgm:cxn modelId="{C497EAB5-4358-4977-9F06-F5D75A078AC7}" type="presOf" srcId="{0D19F3B8-55C7-49A8-A933-C710DD020EB1}" destId="{197480A1-BFDC-4298-B195-411692E751F5}" srcOrd="0" destOrd="5" presId="urn:microsoft.com/office/officeart/2005/8/layout/default"/>
    <dgm:cxn modelId="{5B7620B9-4D06-4771-BECA-05D087A5A98D}" type="presOf" srcId="{E8FC284B-5DCB-4308-9A62-38C2B2321EFF}" destId="{9C0711DF-9261-4564-AFC3-163E9BED3EB0}" srcOrd="0" destOrd="1" presId="urn:microsoft.com/office/officeart/2005/8/layout/default"/>
    <dgm:cxn modelId="{E3FEDABF-4F8A-4DB9-AE58-38908F14A121}" type="presOf" srcId="{F2A1FCC7-E74D-4CB6-8E63-46290A86B36C}" destId="{197480A1-BFDC-4298-B195-411692E751F5}" srcOrd="0" destOrd="4" presId="urn:microsoft.com/office/officeart/2005/8/layout/default"/>
    <dgm:cxn modelId="{FA0756C9-DE8D-4224-86CE-25123F9485AB}" srcId="{5718A29F-B205-4410-87AC-4CD49B63708B}" destId="{587F28AF-938E-4AB2-BE59-9B8FEB743EBE}" srcOrd="0" destOrd="0" parTransId="{126C6C3D-D951-40AA-B036-2F2A2A71CB35}" sibTransId="{627E7EDD-C7FE-4931-9065-1D376AC1B13C}"/>
    <dgm:cxn modelId="{75F867E3-D929-409C-9869-436E8A2EB92B}" type="presOf" srcId="{430D3227-D232-458B-B98D-6D38C64B74C3}" destId="{197480A1-BFDC-4298-B195-411692E751F5}" srcOrd="0" destOrd="2" presId="urn:microsoft.com/office/officeart/2005/8/layout/default"/>
    <dgm:cxn modelId="{9C3DA3F0-3F9D-4E92-92CE-1E37EE6EC605}" srcId="{54F93565-52ED-4576-BC7D-0AF92CADD310}" destId="{2C0B3D2C-C6DA-4330-B3D6-823D30D72F5E}" srcOrd="1" destOrd="0" parTransId="{7157FD6F-A81A-4F04-BC33-F6F35DFE88F6}" sibTransId="{02E813CB-0205-4DAD-AE26-D1242B22C317}"/>
    <dgm:cxn modelId="{AD5BBCF4-27CA-4679-B236-13E51087556A}" type="presOf" srcId="{2C0B3D2C-C6DA-4330-B3D6-823D30D72F5E}" destId="{9C0711DF-9261-4564-AFC3-163E9BED3EB0}" srcOrd="0" destOrd="2" presId="urn:microsoft.com/office/officeart/2005/8/layout/default"/>
    <dgm:cxn modelId="{EE2039F6-09C3-4CFE-A728-4FD62D173DA9}" srcId="{587F28AF-938E-4AB2-BE59-9B8FEB743EBE}" destId="{D0FEDA00-8F1C-4260-9C38-C6F498D97E38}" srcOrd="5" destOrd="0" parTransId="{50DA1497-2160-4279-9478-0D2EF3BDA841}" sibTransId="{F0A33792-990D-4B1C-A2B8-185EB80DBBE3}"/>
    <dgm:cxn modelId="{90E600FF-3D1A-485A-976A-0871CC10ABD1}" type="presOf" srcId="{2C6DED75-06EC-4EB0-967D-9D8178E4C005}" destId="{9C0711DF-9261-4564-AFC3-163E9BED3EB0}" srcOrd="0" destOrd="3" presId="urn:microsoft.com/office/officeart/2005/8/layout/default"/>
    <dgm:cxn modelId="{35CEDD0C-8AC4-477E-B2EC-C4BE15F495DF}" type="presParOf" srcId="{29FB2F4C-61BC-4459-A149-DA1F80C31612}" destId="{197480A1-BFDC-4298-B195-411692E751F5}" srcOrd="0" destOrd="0" presId="urn:microsoft.com/office/officeart/2005/8/layout/default"/>
    <dgm:cxn modelId="{4142B6CE-C95E-4F3D-8BCA-DE5BA401E776}" type="presParOf" srcId="{29FB2F4C-61BC-4459-A149-DA1F80C31612}" destId="{3A207E7A-261B-47F5-B46A-DA1EB7BC477B}" srcOrd="1" destOrd="0" presId="urn:microsoft.com/office/officeart/2005/8/layout/default"/>
    <dgm:cxn modelId="{AD36FDAC-AAF9-4C74-845A-2F6E6E713C55}" type="presParOf" srcId="{29FB2F4C-61BC-4459-A149-DA1F80C31612}" destId="{9C0711DF-9261-4564-AFC3-163E9BED3EB0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718A29F-B205-4410-87AC-4CD49B63708B}" type="doc">
      <dgm:prSet loTypeId="urn:microsoft.com/office/officeart/2005/8/layout/defaul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587F28AF-938E-4AB2-BE59-9B8FEB743EBE}">
      <dgm:prSet/>
      <dgm:spPr/>
      <dgm:t>
        <a:bodyPr/>
        <a:lstStyle/>
        <a:p>
          <a:pPr marL="0">
            <a:lnSpc>
              <a:spcPct val="90000"/>
            </a:lnSpc>
            <a:buNone/>
          </a:pPr>
          <a:r>
            <a:rPr lang="en-GB" sz="3300" baseline="0" dirty="0">
              <a:solidFill>
                <a:srgbClr val="F2C811"/>
              </a:solidFill>
            </a:rPr>
            <a:t>Corporate BI</a:t>
          </a:r>
          <a:endParaRPr lang="en-GB" sz="3300" dirty="0">
            <a:solidFill>
              <a:srgbClr val="F2C811"/>
            </a:solidFill>
          </a:endParaRPr>
        </a:p>
      </dgm:t>
    </dgm:pt>
    <dgm:pt modelId="{126C6C3D-D951-40AA-B036-2F2A2A71CB35}" type="parTrans" cxnId="{FA0756C9-DE8D-4224-86CE-25123F9485AB}">
      <dgm:prSet/>
      <dgm:spPr/>
      <dgm:t>
        <a:bodyPr/>
        <a:lstStyle/>
        <a:p>
          <a:endParaRPr lang="en-US"/>
        </a:p>
      </dgm:t>
    </dgm:pt>
    <dgm:pt modelId="{627E7EDD-C7FE-4931-9065-1D376AC1B13C}" type="sibTrans" cxnId="{FA0756C9-DE8D-4224-86CE-25123F9485AB}">
      <dgm:prSet/>
      <dgm:spPr/>
      <dgm:t>
        <a:bodyPr/>
        <a:lstStyle/>
        <a:p>
          <a:endParaRPr lang="en-US"/>
        </a:p>
      </dgm:t>
    </dgm:pt>
    <dgm:pt modelId="{54F93565-52ED-4576-BC7D-0AF92CADD310}">
      <dgm:prSet/>
      <dgm:spPr/>
      <dgm:t>
        <a:bodyPr/>
        <a:lstStyle/>
        <a:p>
          <a:pPr marL="0">
            <a:lnSpc>
              <a:spcPct val="90000"/>
            </a:lnSpc>
            <a:buNone/>
          </a:pPr>
          <a:r>
            <a:rPr lang="en-GB" sz="3300" kern="1200" baseline="0">
              <a:solidFill>
                <a:srgbClr val="F2C811"/>
              </a:solidFill>
            </a:rPr>
            <a:t>Business-Led Self Service BI</a:t>
          </a:r>
          <a:endParaRPr lang="en-GB" sz="3300" kern="1200" dirty="0">
            <a:solidFill>
              <a:srgbClr val="F2C811"/>
            </a:solidFill>
          </a:endParaRPr>
        </a:p>
      </dgm:t>
    </dgm:pt>
    <dgm:pt modelId="{E945A0DC-6443-440E-9015-4C0FC81094BB}" type="parTrans" cxnId="{E7AB4C82-E44F-4646-BD5E-F6E73BC10BE9}">
      <dgm:prSet/>
      <dgm:spPr/>
      <dgm:t>
        <a:bodyPr/>
        <a:lstStyle/>
        <a:p>
          <a:endParaRPr lang="en-US"/>
        </a:p>
      </dgm:t>
    </dgm:pt>
    <dgm:pt modelId="{AADD4544-3179-4875-90F2-9F8969A8563D}" type="sibTrans" cxnId="{E7AB4C82-E44F-4646-BD5E-F6E73BC10BE9}">
      <dgm:prSet/>
      <dgm:spPr/>
      <dgm:t>
        <a:bodyPr/>
        <a:lstStyle/>
        <a:p>
          <a:endParaRPr lang="en-US"/>
        </a:p>
      </dgm:t>
    </dgm:pt>
    <dgm:pt modelId="{E8FC284B-5DCB-4308-9A62-38C2B2321EFF}">
      <dgm:prSet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kern="1200" baseline="0" dirty="0"/>
            <a:t>Start gaining benefits of the tool immediately</a:t>
          </a:r>
          <a:endParaRPr lang="en-GB" sz="2000" kern="1200" dirty="0"/>
        </a:p>
      </dgm:t>
    </dgm:pt>
    <dgm:pt modelId="{29C48661-EFBC-4768-90E0-C18D92244C13}" type="parTrans" cxnId="{3B06F1A6-FF19-4A17-A32A-79186945183D}">
      <dgm:prSet/>
      <dgm:spPr/>
      <dgm:t>
        <a:bodyPr/>
        <a:lstStyle/>
        <a:p>
          <a:endParaRPr lang="en-US"/>
        </a:p>
      </dgm:t>
    </dgm:pt>
    <dgm:pt modelId="{114CD63A-CADC-41AA-9CF2-F25913C54375}" type="sibTrans" cxnId="{3B06F1A6-FF19-4A17-A32A-79186945183D}">
      <dgm:prSet/>
      <dgm:spPr/>
      <dgm:t>
        <a:bodyPr/>
        <a:lstStyle/>
        <a:p>
          <a:endParaRPr lang="en-US"/>
        </a:p>
      </dgm:t>
    </dgm:pt>
    <dgm:pt modelId="{ADA60B00-9F24-41D0-A9E3-B9F5E4676AAC}">
      <dgm:prSet custScaleY="127198"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baseline="0" dirty="0"/>
            <a:t>Product evaluation</a:t>
          </a:r>
          <a:endParaRPr lang="en-GB" sz="2000" dirty="0"/>
        </a:p>
      </dgm:t>
    </dgm:pt>
    <dgm:pt modelId="{CEE911B0-8280-4AB3-B249-4E326E7E5319}" type="parTrans" cxnId="{1EDABC39-CB27-4EF1-834F-315E9FD6C0D9}">
      <dgm:prSet/>
      <dgm:spPr/>
      <dgm:t>
        <a:bodyPr/>
        <a:lstStyle/>
        <a:p>
          <a:endParaRPr lang="en-GB"/>
        </a:p>
      </dgm:t>
    </dgm:pt>
    <dgm:pt modelId="{A3EDE53F-C5AB-4C0B-8635-FF66539D2154}" type="sibTrans" cxnId="{1EDABC39-CB27-4EF1-834F-315E9FD6C0D9}">
      <dgm:prSet/>
      <dgm:spPr/>
      <dgm:t>
        <a:bodyPr/>
        <a:lstStyle/>
        <a:p>
          <a:endParaRPr lang="en-GB"/>
        </a:p>
      </dgm:t>
    </dgm:pt>
    <dgm:pt modelId="{6CB9C5AE-BAC2-4EB7-8C89-0D8922A5E1F4}">
      <dgm:prSet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baseline="0" dirty="0"/>
            <a:t>Governance and security standards</a:t>
          </a:r>
          <a:endParaRPr lang="en-GB" sz="2000" dirty="0"/>
        </a:p>
      </dgm:t>
    </dgm:pt>
    <dgm:pt modelId="{5B6E70B3-48A4-4797-A6F9-13DD452052C9}" type="parTrans" cxnId="{00FE4B0A-F8DC-4AC7-8873-C474AB772330}">
      <dgm:prSet/>
      <dgm:spPr/>
      <dgm:t>
        <a:bodyPr/>
        <a:lstStyle/>
        <a:p>
          <a:endParaRPr lang="en-GB"/>
        </a:p>
      </dgm:t>
    </dgm:pt>
    <dgm:pt modelId="{A2F3F4F6-63E4-4730-9601-480B9009893D}" type="sibTrans" cxnId="{00FE4B0A-F8DC-4AC7-8873-C474AB772330}">
      <dgm:prSet/>
      <dgm:spPr/>
      <dgm:t>
        <a:bodyPr/>
        <a:lstStyle/>
        <a:p>
          <a:endParaRPr lang="en-GB"/>
        </a:p>
      </dgm:t>
    </dgm:pt>
    <dgm:pt modelId="{1A282B2D-6614-41D6-A213-80B731E54A83}">
      <dgm:prSet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baseline="0" dirty="0">
              <a:solidFill>
                <a:prstClr val="white"/>
              </a:solidFill>
              <a:latin typeface="Segoe UI"/>
              <a:ea typeface="+mn-ea"/>
              <a:cs typeface="+mn-cs"/>
            </a:rPr>
            <a:t>Centrally</a:t>
          </a:r>
          <a:r>
            <a:rPr lang="en-GB" sz="2000" baseline="0" dirty="0"/>
            <a:t> Managed Service</a:t>
          </a:r>
          <a:endParaRPr lang="en-GB" sz="2000" dirty="0"/>
        </a:p>
      </dgm:t>
    </dgm:pt>
    <dgm:pt modelId="{CAE579C5-51CC-4D52-B9A7-358E2D1F3465}" type="parTrans" cxnId="{959A0FB5-E3FD-4131-B38C-D3D50C2DC4F6}">
      <dgm:prSet/>
      <dgm:spPr/>
      <dgm:t>
        <a:bodyPr/>
        <a:lstStyle/>
        <a:p>
          <a:endParaRPr lang="en-GB"/>
        </a:p>
      </dgm:t>
    </dgm:pt>
    <dgm:pt modelId="{1F9724F4-5D3A-4CEB-B143-542B9CE5AA3D}" type="sibTrans" cxnId="{959A0FB5-E3FD-4131-B38C-D3D50C2DC4F6}">
      <dgm:prSet/>
      <dgm:spPr/>
      <dgm:t>
        <a:bodyPr/>
        <a:lstStyle/>
        <a:p>
          <a:endParaRPr lang="en-GB"/>
        </a:p>
      </dgm:t>
    </dgm:pt>
    <dgm:pt modelId="{CAC3BF27-D4B5-4C02-8B42-2AB35AF79839}">
      <dgm:prSet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baseline="0" dirty="0"/>
            <a:t>Support structure</a:t>
          </a:r>
          <a:endParaRPr lang="en-GB" sz="2000" dirty="0"/>
        </a:p>
      </dgm:t>
    </dgm:pt>
    <dgm:pt modelId="{761DB02F-7666-4B91-8D79-8181D05E614D}" type="parTrans" cxnId="{B540CE76-3315-43AE-9FC4-6171518E361F}">
      <dgm:prSet/>
      <dgm:spPr/>
      <dgm:t>
        <a:bodyPr/>
        <a:lstStyle/>
        <a:p>
          <a:endParaRPr lang="en-GB"/>
        </a:p>
      </dgm:t>
    </dgm:pt>
    <dgm:pt modelId="{A7B6D0ED-B620-4E4D-8072-836AD54F82CF}" type="sibTrans" cxnId="{B540CE76-3315-43AE-9FC4-6171518E361F}">
      <dgm:prSet/>
      <dgm:spPr/>
      <dgm:t>
        <a:bodyPr/>
        <a:lstStyle/>
        <a:p>
          <a:endParaRPr lang="en-GB"/>
        </a:p>
      </dgm:t>
    </dgm:pt>
    <dgm:pt modelId="{FBD60577-C5E2-4CA4-9CD0-0E7CF52B379C}">
      <dgm:prSet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baseline="0" dirty="0"/>
            <a:t>IT led solution delivery</a:t>
          </a:r>
          <a:endParaRPr lang="en-GB" sz="2000" dirty="0"/>
        </a:p>
      </dgm:t>
    </dgm:pt>
    <dgm:pt modelId="{61FF312E-8C99-4D5A-A7D6-B5769DDFBC21}" type="parTrans" cxnId="{95754EFE-55CD-4E6C-8767-8B2D1E6108A7}">
      <dgm:prSet/>
      <dgm:spPr/>
      <dgm:t>
        <a:bodyPr/>
        <a:lstStyle/>
        <a:p>
          <a:endParaRPr lang="en-GB"/>
        </a:p>
      </dgm:t>
    </dgm:pt>
    <dgm:pt modelId="{B2A49410-908C-43A2-8FD7-73AAEECEC9D9}" type="sibTrans" cxnId="{95754EFE-55CD-4E6C-8767-8B2D1E6108A7}">
      <dgm:prSet/>
      <dgm:spPr/>
      <dgm:t>
        <a:bodyPr/>
        <a:lstStyle/>
        <a:p>
          <a:endParaRPr lang="en-GB"/>
        </a:p>
      </dgm:t>
    </dgm:pt>
    <dgm:pt modelId="{D4295925-4C46-4693-9BE0-4EFD8883C612}">
      <dgm:prSet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kern="1200" baseline="0" dirty="0">
              <a:solidFill>
                <a:prstClr val="white"/>
              </a:solidFill>
              <a:latin typeface="Segoe UI"/>
              <a:ea typeface="+mn-ea"/>
              <a:cs typeface="+mn-cs"/>
            </a:rPr>
            <a:t>Power BI Champions will emerge</a:t>
          </a:r>
          <a:endParaRPr lang="en-GB" sz="2000" kern="1200" dirty="0"/>
        </a:p>
      </dgm:t>
    </dgm:pt>
    <dgm:pt modelId="{E99B53B6-220C-4ADC-9C9B-4C4CE7E2DFE7}" type="parTrans" cxnId="{55DCCFF3-1F01-4F6C-A786-7825DDA6B57A}">
      <dgm:prSet/>
      <dgm:spPr/>
      <dgm:t>
        <a:bodyPr/>
        <a:lstStyle/>
        <a:p>
          <a:endParaRPr lang="en-GB"/>
        </a:p>
      </dgm:t>
    </dgm:pt>
    <dgm:pt modelId="{C0C971A7-0BAC-4B2F-902B-06B67EEBC22F}" type="sibTrans" cxnId="{55DCCFF3-1F01-4F6C-A786-7825DDA6B57A}">
      <dgm:prSet/>
      <dgm:spPr/>
      <dgm:t>
        <a:bodyPr/>
        <a:lstStyle/>
        <a:p>
          <a:endParaRPr lang="en-GB"/>
        </a:p>
      </dgm:t>
    </dgm:pt>
    <dgm:pt modelId="{9E346B8A-465F-426B-AE31-22F0A5741059}">
      <dgm:prSet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kern="1200" baseline="0" dirty="0">
              <a:solidFill>
                <a:prstClr val="white"/>
              </a:solidFill>
              <a:latin typeface="Segoe UI"/>
              <a:ea typeface="+mn-ea"/>
              <a:cs typeface="+mn-cs"/>
            </a:rPr>
            <a:t>End user/ Power user training</a:t>
          </a:r>
        </a:p>
      </dgm:t>
    </dgm:pt>
    <dgm:pt modelId="{D71850F3-3823-4923-A5FE-FE3BDF4235FC}" type="parTrans" cxnId="{1FF31B3A-D38C-4A4B-9855-0AB7F8BB9896}">
      <dgm:prSet/>
      <dgm:spPr/>
      <dgm:t>
        <a:bodyPr/>
        <a:lstStyle/>
        <a:p>
          <a:endParaRPr lang="en-GB"/>
        </a:p>
      </dgm:t>
    </dgm:pt>
    <dgm:pt modelId="{91CA64F8-9BD5-462D-92CA-E476BC630E4A}" type="sibTrans" cxnId="{1FF31B3A-D38C-4A4B-9855-0AB7F8BB9896}">
      <dgm:prSet/>
      <dgm:spPr/>
      <dgm:t>
        <a:bodyPr/>
        <a:lstStyle/>
        <a:p>
          <a:endParaRPr lang="en-GB"/>
        </a:p>
      </dgm:t>
    </dgm:pt>
    <dgm:pt modelId="{E1FC9531-1DE8-4871-8077-804460808A08}">
      <dgm:prSet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kern="1200" baseline="0" dirty="0">
              <a:solidFill>
                <a:prstClr val="white"/>
              </a:solidFill>
              <a:latin typeface="Segoe UI"/>
              <a:ea typeface="+mn-ea"/>
              <a:cs typeface="+mn-cs"/>
            </a:rPr>
            <a:t>Infrastructure setup</a:t>
          </a:r>
        </a:p>
      </dgm:t>
    </dgm:pt>
    <dgm:pt modelId="{67EDCB4F-4634-4B3F-A2F3-8709C6583410}" type="parTrans" cxnId="{BE048415-D765-49A5-9D76-702959360DE2}">
      <dgm:prSet/>
      <dgm:spPr/>
    </dgm:pt>
    <dgm:pt modelId="{35623A07-8B46-4981-8437-7473D191C04E}" type="sibTrans" cxnId="{BE048415-D765-49A5-9D76-702959360DE2}">
      <dgm:prSet/>
      <dgm:spPr/>
    </dgm:pt>
    <dgm:pt modelId="{DF40ED90-3DE8-4A5E-8148-12122FB51081}">
      <dgm:prSet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kern="1200" baseline="0" dirty="0">
              <a:solidFill>
                <a:prstClr val="white"/>
              </a:solidFill>
              <a:latin typeface="Segoe UI"/>
              <a:ea typeface="+mn-ea"/>
              <a:cs typeface="+mn-cs"/>
            </a:rPr>
            <a:t>Support structure</a:t>
          </a:r>
        </a:p>
      </dgm:t>
    </dgm:pt>
    <dgm:pt modelId="{C4A3F743-1B37-4906-A911-F529443C836A}" type="parTrans" cxnId="{8987A952-1CEF-4D69-98BC-1EED58F7A533}">
      <dgm:prSet/>
      <dgm:spPr/>
      <dgm:t>
        <a:bodyPr/>
        <a:lstStyle/>
        <a:p>
          <a:endParaRPr lang="en-GB"/>
        </a:p>
      </dgm:t>
    </dgm:pt>
    <dgm:pt modelId="{CB7F6D20-CFD5-4823-9495-66CFAD812438}" type="sibTrans" cxnId="{8987A952-1CEF-4D69-98BC-1EED58F7A533}">
      <dgm:prSet/>
      <dgm:spPr/>
      <dgm:t>
        <a:bodyPr/>
        <a:lstStyle/>
        <a:p>
          <a:endParaRPr lang="en-GB"/>
        </a:p>
      </dgm:t>
    </dgm:pt>
    <dgm:pt modelId="{5756F26A-CDCE-4F3D-813D-D8B8CEC6A6CE}">
      <dgm:prSet custT="1"/>
      <dgm:spPr/>
      <dgm:t>
        <a:bodyPr/>
        <a:lstStyle/>
        <a:p>
          <a:pPr marL="360000">
            <a:lnSpc>
              <a:spcPct val="150000"/>
            </a:lnSpc>
            <a:buNone/>
          </a:pPr>
          <a:r>
            <a:rPr lang="en-GB" sz="2000" baseline="0" dirty="0"/>
            <a:t>Infrastructure setup</a:t>
          </a:r>
          <a:endParaRPr lang="en-GB" sz="2000" dirty="0"/>
        </a:p>
      </dgm:t>
    </dgm:pt>
    <dgm:pt modelId="{83B0D285-08F5-4BF7-8FC4-997653CEDB98}" type="parTrans" cxnId="{115A376E-4FEA-46F7-B10E-59C19FF30FF6}">
      <dgm:prSet/>
      <dgm:spPr/>
    </dgm:pt>
    <dgm:pt modelId="{367D2E42-26AA-4686-9FD7-97A43997DB89}" type="sibTrans" cxnId="{115A376E-4FEA-46F7-B10E-59C19FF30FF6}">
      <dgm:prSet/>
      <dgm:spPr/>
    </dgm:pt>
    <dgm:pt modelId="{29FB2F4C-61BC-4459-A149-DA1F80C31612}" type="pres">
      <dgm:prSet presAssocID="{5718A29F-B205-4410-87AC-4CD49B63708B}" presName="diagram" presStyleCnt="0">
        <dgm:presLayoutVars>
          <dgm:dir/>
          <dgm:resizeHandles val="exact"/>
        </dgm:presLayoutVars>
      </dgm:prSet>
      <dgm:spPr/>
    </dgm:pt>
    <dgm:pt modelId="{197480A1-BFDC-4298-B195-411692E751F5}" type="pres">
      <dgm:prSet presAssocID="{587F28AF-938E-4AB2-BE59-9B8FEB743EBE}" presName="node" presStyleLbl="node1" presStyleIdx="0" presStyleCnt="2" custScaleY="131601">
        <dgm:presLayoutVars>
          <dgm:bulletEnabled val="1"/>
        </dgm:presLayoutVars>
      </dgm:prSet>
      <dgm:spPr/>
    </dgm:pt>
    <dgm:pt modelId="{3A207E7A-261B-47F5-B46A-DA1EB7BC477B}" type="pres">
      <dgm:prSet presAssocID="{627E7EDD-C7FE-4931-9065-1D376AC1B13C}" presName="sibTrans" presStyleCnt="0"/>
      <dgm:spPr/>
    </dgm:pt>
    <dgm:pt modelId="{9C0711DF-9261-4564-AFC3-163E9BED3EB0}" type="pres">
      <dgm:prSet presAssocID="{54F93565-52ED-4576-BC7D-0AF92CADD310}" presName="node" presStyleLbl="node1" presStyleIdx="1" presStyleCnt="2" custScaleY="130809">
        <dgm:presLayoutVars>
          <dgm:bulletEnabled val="1"/>
        </dgm:presLayoutVars>
      </dgm:prSet>
      <dgm:spPr/>
    </dgm:pt>
  </dgm:ptLst>
  <dgm:cxnLst>
    <dgm:cxn modelId="{54527D09-1E93-4489-BA1C-D90FC06E1817}" type="presOf" srcId="{E1FC9531-1DE8-4871-8077-804460808A08}" destId="{9C0711DF-9261-4564-AFC3-163E9BED3EB0}" srcOrd="0" destOrd="3" presId="urn:microsoft.com/office/officeart/2005/8/layout/default"/>
    <dgm:cxn modelId="{00FE4B0A-F8DC-4AC7-8873-C474AB772330}" srcId="{587F28AF-938E-4AB2-BE59-9B8FEB743EBE}" destId="{6CB9C5AE-BAC2-4EB7-8C89-0D8922A5E1F4}" srcOrd="1" destOrd="0" parTransId="{5B6E70B3-48A4-4797-A6F9-13DD452052C9}" sibTransId="{A2F3F4F6-63E4-4730-9601-480B9009893D}"/>
    <dgm:cxn modelId="{6D82490B-70F8-4E85-BDF1-31B371E78637}" type="presOf" srcId="{5756F26A-CDCE-4F3D-813D-D8B8CEC6A6CE}" destId="{197480A1-BFDC-4298-B195-411692E751F5}" srcOrd="0" destOrd="4" presId="urn:microsoft.com/office/officeart/2005/8/layout/default"/>
    <dgm:cxn modelId="{BE048415-D765-49A5-9D76-702959360DE2}" srcId="{54F93565-52ED-4576-BC7D-0AF92CADD310}" destId="{E1FC9531-1DE8-4871-8077-804460808A08}" srcOrd="2" destOrd="0" parTransId="{67EDCB4F-4634-4B3F-A2F3-8709C6583410}" sibTransId="{35623A07-8B46-4981-8437-7473D191C04E}"/>
    <dgm:cxn modelId="{442F0033-766F-4D37-A959-5030BC466FFC}" type="presOf" srcId="{6CB9C5AE-BAC2-4EB7-8C89-0D8922A5E1F4}" destId="{197480A1-BFDC-4298-B195-411692E751F5}" srcOrd="0" destOrd="2" presId="urn:microsoft.com/office/officeart/2005/8/layout/default"/>
    <dgm:cxn modelId="{1EDABC39-CB27-4EF1-834F-315E9FD6C0D9}" srcId="{587F28AF-938E-4AB2-BE59-9B8FEB743EBE}" destId="{ADA60B00-9F24-41D0-A9E3-B9F5E4676AAC}" srcOrd="0" destOrd="0" parTransId="{CEE911B0-8280-4AB3-B249-4E326E7E5319}" sibTransId="{A3EDE53F-C5AB-4C0B-8635-FF66539D2154}"/>
    <dgm:cxn modelId="{1FF31B3A-D38C-4A4B-9855-0AB7F8BB9896}" srcId="{54F93565-52ED-4576-BC7D-0AF92CADD310}" destId="{9E346B8A-465F-426B-AE31-22F0A5741059}" srcOrd="4" destOrd="0" parTransId="{D71850F3-3823-4923-A5FE-FE3BDF4235FC}" sibTransId="{91CA64F8-9BD5-462D-92CA-E476BC630E4A}"/>
    <dgm:cxn modelId="{36A03D66-40FE-48B2-9224-49B6898FF9F8}" type="presOf" srcId="{D4295925-4C46-4693-9BE0-4EFD8883C612}" destId="{9C0711DF-9261-4564-AFC3-163E9BED3EB0}" srcOrd="0" destOrd="2" presId="urn:microsoft.com/office/officeart/2005/8/layout/default"/>
    <dgm:cxn modelId="{C1E20A47-5D45-4230-96FE-6F15E326C943}" type="presOf" srcId="{54F93565-52ED-4576-BC7D-0AF92CADD310}" destId="{9C0711DF-9261-4564-AFC3-163E9BED3EB0}" srcOrd="0" destOrd="0" presId="urn:microsoft.com/office/officeart/2005/8/layout/default"/>
    <dgm:cxn modelId="{3D7BEF48-1867-4DDB-BD89-6547E1EFC209}" type="presOf" srcId="{587F28AF-938E-4AB2-BE59-9B8FEB743EBE}" destId="{197480A1-BFDC-4298-B195-411692E751F5}" srcOrd="0" destOrd="0" presId="urn:microsoft.com/office/officeart/2005/8/layout/default"/>
    <dgm:cxn modelId="{115A376E-4FEA-46F7-B10E-59C19FF30FF6}" srcId="{587F28AF-938E-4AB2-BE59-9B8FEB743EBE}" destId="{5756F26A-CDCE-4F3D-813D-D8B8CEC6A6CE}" srcOrd="3" destOrd="0" parTransId="{83B0D285-08F5-4BF7-8FC4-997653CEDB98}" sibTransId="{367D2E42-26AA-4686-9FD7-97A43997DB89}"/>
    <dgm:cxn modelId="{6FFD2C51-CF2B-4018-A248-7BEE096B6F87}" type="presOf" srcId="{CAC3BF27-D4B5-4C02-8B42-2AB35AF79839}" destId="{197480A1-BFDC-4298-B195-411692E751F5}" srcOrd="0" destOrd="5" presId="urn:microsoft.com/office/officeart/2005/8/layout/default"/>
    <dgm:cxn modelId="{8987A952-1CEF-4D69-98BC-1EED58F7A533}" srcId="{54F93565-52ED-4576-BC7D-0AF92CADD310}" destId="{DF40ED90-3DE8-4A5E-8148-12122FB51081}" srcOrd="3" destOrd="0" parTransId="{C4A3F743-1B37-4906-A911-F529443C836A}" sibTransId="{CB7F6D20-CFD5-4823-9495-66CFAD812438}"/>
    <dgm:cxn modelId="{B540CE76-3315-43AE-9FC4-6171518E361F}" srcId="{587F28AF-938E-4AB2-BE59-9B8FEB743EBE}" destId="{CAC3BF27-D4B5-4C02-8B42-2AB35AF79839}" srcOrd="4" destOrd="0" parTransId="{761DB02F-7666-4B91-8D79-8181D05E614D}" sibTransId="{A7B6D0ED-B620-4E4D-8072-836AD54F82CF}"/>
    <dgm:cxn modelId="{59008D80-0716-4A9E-8D5B-66A670D38FA6}" type="presOf" srcId="{DF40ED90-3DE8-4A5E-8148-12122FB51081}" destId="{9C0711DF-9261-4564-AFC3-163E9BED3EB0}" srcOrd="0" destOrd="4" presId="urn:microsoft.com/office/officeart/2005/8/layout/default"/>
    <dgm:cxn modelId="{E7AB4C82-E44F-4646-BD5E-F6E73BC10BE9}" srcId="{5718A29F-B205-4410-87AC-4CD49B63708B}" destId="{54F93565-52ED-4576-BC7D-0AF92CADD310}" srcOrd="1" destOrd="0" parTransId="{E945A0DC-6443-440E-9015-4C0FC81094BB}" sibTransId="{AADD4544-3179-4875-90F2-9F8969A8563D}"/>
    <dgm:cxn modelId="{DC4F638B-9456-44E1-960F-30C04903458B}" type="presOf" srcId="{ADA60B00-9F24-41D0-A9E3-B9F5E4676AAC}" destId="{197480A1-BFDC-4298-B195-411692E751F5}" srcOrd="0" destOrd="1" presId="urn:microsoft.com/office/officeart/2005/8/layout/default"/>
    <dgm:cxn modelId="{E55F9C8D-67CB-4FE5-878D-201A0F32AE21}" type="presOf" srcId="{FBD60577-C5E2-4CA4-9CD0-0E7CF52B379C}" destId="{197480A1-BFDC-4298-B195-411692E751F5}" srcOrd="0" destOrd="6" presId="urn:microsoft.com/office/officeart/2005/8/layout/default"/>
    <dgm:cxn modelId="{C5297390-0FFA-43E9-8647-883C9633400C}" type="presOf" srcId="{5718A29F-B205-4410-87AC-4CD49B63708B}" destId="{29FB2F4C-61BC-4459-A149-DA1F80C31612}" srcOrd="0" destOrd="0" presId="urn:microsoft.com/office/officeart/2005/8/layout/default"/>
    <dgm:cxn modelId="{E363BE91-F24A-4E18-98D4-A2A46A25F30E}" type="presOf" srcId="{1A282B2D-6614-41D6-A213-80B731E54A83}" destId="{197480A1-BFDC-4298-B195-411692E751F5}" srcOrd="0" destOrd="3" presId="urn:microsoft.com/office/officeart/2005/8/layout/default"/>
    <dgm:cxn modelId="{2D269F95-B9FA-4172-AFFA-70E3F0CF7B82}" type="presOf" srcId="{9E346B8A-465F-426B-AE31-22F0A5741059}" destId="{9C0711DF-9261-4564-AFC3-163E9BED3EB0}" srcOrd="0" destOrd="5" presId="urn:microsoft.com/office/officeart/2005/8/layout/default"/>
    <dgm:cxn modelId="{3B06F1A6-FF19-4A17-A32A-79186945183D}" srcId="{54F93565-52ED-4576-BC7D-0AF92CADD310}" destId="{E8FC284B-5DCB-4308-9A62-38C2B2321EFF}" srcOrd="0" destOrd="0" parTransId="{29C48661-EFBC-4768-90E0-C18D92244C13}" sibTransId="{114CD63A-CADC-41AA-9CF2-F25913C54375}"/>
    <dgm:cxn modelId="{959A0FB5-E3FD-4131-B38C-D3D50C2DC4F6}" srcId="{587F28AF-938E-4AB2-BE59-9B8FEB743EBE}" destId="{1A282B2D-6614-41D6-A213-80B731E54A83}" srcOrd="2" destOrd="0" parTransId="{CAE579C5-51CC-4D52-B9A7-358E2D1F3465}" sibTransId="{1F9724F4-5D3A-4CEB-B143-542B9CE5AA3D}"/>
    <dgm:cxn modelId="{5B7620B9-4D06-4771-BECA-05D087A5A98D}" type="presOf" srcId="{E8FC284B-5DCB-4308-9A62-38C2B2321EFF}" destId="{9C0711DF-9261-4564-AFC3-163E9BED3EB0}" srcOrd="0" destOrd="1" presId="urn:microsoft.com/office/officeart/2005/8/layout/default"/>
    <dgm:cxn modelId="{FA0756C9-DE8D-4224-86CE-25123F9485AB}" srcId="{5718A29F-B205-4410-87AC-4CD49B63708B}" destId="{587F28AF-938E-4AB2-BE59-9B8FEB743EBE}" srcOrd="0" destOrd="0" parTransId="{126C6C3D-D951-40AA-B036-2F2A2A71CB35}" sibTransId="{627E7EDD-C7FE-4931-9065-1D376AC1B13C}"/>
    <dgm:cxn modelId="{55DCCFF3-1F01-4F6C-A786-7825DDA6B57A}" srcId="{54F93565-52ED-4576-BC7D-0AF92CADD310}" destId="{D4295925-4C46-4693-9BE0-4EFD8883C612}" srcOrd="1" destOrd="0" parTransId="{E99B53B6-220C-4ADC-9C9B-4C4CE7E2DFE7}" sibTransId="{C0C971A7-0BAC-4B2F-902B-06B67EEBC22F}"/>
    <dgm:cxn modelId="{95754EFE-55CD-4E6C-8767-8B2D1E6108A7}" srcId="{587F28AF-938E-4AB2-BE59-9B8FEB743EBE}" destId="{FBD60577-C5E2-4CA4-9CD0-0E7CF52B379C}" srcOrd="5" destOrd="0" parTransId="{61FF312E-8C99-4D5A-A7D6-B5769DDFBC21}" sibTransId="{B2A49410-908C-43A2-8FD7-73AAEECEC9D9}"/>
    <dgm:cxn modelId="{35CEDD0C-8AC4-477E-B2EC-C4BE15F495DF}" type="presParOf" srcId="{29FB2F4C-61BC-4459-A149-DA1F80C31612}" destId="{197480A1-BFDC-4298-B195-411692E751F5}" srcOrd="0" destOrd="0" presId="urn:microsoft.com/office/officeart/2005/8/layout/default"/>
    <dgm:cxn modelId="{4142B6CE-C95E-4F3D-8BCA-DE5BA401E776}" type="presParOf" srcId="{29FB2F4C-61BC-4459-A149-DA1F80C31612}" destId="{3A207E7A-261B-47F5-B46A-DA1EB7BC477B}" srcOrd="1" destOrd="0" presId="urn:microsoft.com/office/officeart/2005/8/layout/default"/>
    <dgm:cxn modelId="{AD36FDAC-AAF9-4C74-845A-2F6E6E713C55}" type="presParOf" srcId="{29FB2F4C-61BC-4459-A149-DA1F80C31612}" destId="{9C0711DF-9261-4564-AFC3-163E9BED3EB0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194065-8BB9-40A4-8875-C19BF6770BD1}">
      <dsp:nvSpPr>
        <dsp:cNvPr id="0" name=""/>
        <dsp:cNvSpPr/>
      </dsp:nvSpPr>
      <dsp:spPr>
        <a:xfrm>
          <a:off x="3147274" y="4727096"/>
          <a:ext cx="504626" cy="10849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52313" y="0"/>
              </a:lnTo>
              <a:lnTo>
                <a:pt x="252313" y="1084946"/>
              </a:lnTo>
              <a:lnTo>
                <a:pt x="504626" y="1084946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8CF8413-0EEB-43DB-8CFA-C41D58448CE6}">
      <dsp:nvSpPr>
        <dsp:cNvPr id="0" name=""/>
        <dsp:cNvSpPr/>
      </dsp:nvSpPr>
      <dsp:spPr>
        <a:xfrm>
          <a:off x="3147274" y="4681376"/>
          <a:ext cx="50462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04626" y="4572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7B647A-4E85-476E-B0F2-05C7E9498437}">
      <dsp:nvSpPr>
        <dsp:cNvPr id="0" name=""/>
        <dsp:cNvSpPr/>
      </dsp:nvSpPr>
      <dsp:spPr>
        <a:xfrm>
          <a:off x="3147274" y="3642150"/>
          <a:ext cx="504626" cy="1084946"/>
        </a:xfrm>
        <a:custGeom>
          <a:avLst/>
          <a:gdLst/>
          <a:ahLst/>
          <a:cxnLst/>
          <a:rect l="0" t="0" r="0" b="0"/>
          <a:pathLst>
            <a:path>
              <a:moveTo>
                <a:pt x="0" y="1084946"/>
              </a:moveTo>
              <a:lnTo>
                <a:pt x="252313" y="1084946"/>
              </a:lnTo>
              <a:lnTo>
                <a:pt x="252313" y="0"/>
              </a:lnTo>
              <a:lnTo>
                <a:pt x="504626" y="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2187BD-A438-45F7-B04E-F9CF460E4C0F}">
      <dsp:nvSpPr>
        <dsp:cNvPr id="0" name=""/>
        <dsp:cNvSpPr/>
      </dsp:nvSpPr>
      <dsp:spPr>
        <a:xfrm>
          <a:off x="3147274" y="1472257"/>
          <a:ext cx="504626" cy="10849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52313" y="0"/>
              </a:lnTo>
              <a:lnTo>
                <a:pt x="252313" y="1084946"/>
              </a:lnTo>
              <a:lnTo>
                <a:pt x="504626" y="1084946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75CFDE-5DAB-4A9F-A066-D1C8A836DAB7}">
      <dsp:nvSpPr>
        <dsp:cNvPr id="0" name=""/>
        <dsp:cNvSpPr/>
      </dsp:nvSpPr>
      <dsp:spPr>
        <a:xfrm>
          <a:off x="3147274" y="1426537"/>
          <a:ext cx="50462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04626" y="4572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E92C3F-5928-45C2-AFAF-03A82F740A80}">
      <dsp:nvSpPr>
        <dsp:cNvPr id="0" name=""/>
        <dsp:cNvSpPr/>
      </dsp:nvSpPr>
      <dsp:spPr>
        <a:xfrm>
          <a:off x="3147274" y="387310"/>
          <a:ext cx="504626" cy="1084946"/>
        </a:xfrm>
        <a:custGeom>
          <a:avLst/>
          <a:gdLst/>
          <a:ahLst/>
          <a:cxnLst/>
          <a:rect l="0" t="0" r="0" b="0"/>
          <a:pathLst>
            <a:path>
              <a:moveTo>
                <a:pt x="0" y="1084946"/>
              </a:moveTo>
              <a:lnTo>
                <a:pt x="252313" y="1084946"/>
              </a:lnTo>
              <a:lnTo>
                <a:pt x="252313" y="0"/>
              </a:lnTo>
              <a:lnTo>
                <a:pt x="504626" y="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3AFAB1-3D0B-41CE-8084-792C150D3A90}">
      <dsp:nvSpPr>
        <dsp:cNvPr id="0" name=""/>
        <dsp:cNvSpPr/>
      </dsp:nvSpPr>
      <dsp:spPr>
        <a:xfrm>
          <a:off x="624143" y="1087479"/>
          <a:ext cx="2523131" cy="76955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baseline="0" dirty="0"/>
            <a:t>Plan for adoption</a:t>
          </a:r>
          <a:endParaRPr lang="en-GB" sz="2500" kern="1200" dirty="0"/>
        </a:p>
      </dsp:txBody>
      <dsp:txXfrm>
        <a:off x="624143" y="1087479"/>
        <a:ext cx="2523131" cy="769555"/>
      </dsp:txXfrm>
    </dsp:sp>
    <dsp:sp modelId="{7E860E76-4F9E-4821-8118-182994921227}">
      <dsp:nvSpPr>
        <dsp:cNvPr id="0" name=""/>
        <dsp:cNvSpPr/>
      </dsp:nvSpPr>
      <dsp:spPr>
        <a:xfrm>
          <a:off x="3651900" y="2533"/>
          <a:ext cx="2523131" cy="76955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baseline="0" dirty="0"/>
            <a:t>Training needs</a:t>
          </a:r>
          <a:endParaRPr lang="en-GB" sz="1800" kern="1200" dirty="0"/>
        </a:p>
      </dsp:txBody>
      <dsp:txXfrm>
        <a:off x="3651900" y="2533"/>
        <a:ext cx="2523131" cy="769555"/>
      </dsp:txXfrm>
    </dsp:sp>
    <dsp:sp modelId="{14C257C8-9A5A-4199-8400-B8F1BA216CDD}">
      <dsp:nvSpPr>
        <dsp:cNvPr id="0" name=""/>
        <dsp:cNvSpPr/>
      </dsp:nvSpPr>
      <dsp:spPr>
        <a:xfrm>
          <a:off x="3651900" y="1087479"/>
          <a:ext cx="2523131" cy="76955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baseline="0" dirty="0"/>
            <a:t>Change management</a:t>
          </a:r>
          <a:endParaRPr lang="en-GB" sz="1800" kern="1200" dirty="0"/>
        </a:p>
      </dsp:txBody>
      <dsp:txXfrm>
        <a:off x="3651900" y="1087479"/>
        <a:ext cx="2523131" cy="769555"/>
      </dsp:txXfrm>
    </dsp:sp>
    <dsp:sp modelId="{A0367830-297B-46FD-B40E-58BCFDB09A4C}">
      <dsp:nvSpPr>
        <dsp:cNvPr id="0" name=""/>
        <dsp:cNvSpPr/>
      </dsp:nvSpPr>
      <dsp:spPr>
        <a:xfrm>
          <a:off x="3651900" y="2172426"/>
          <a:ext cx="2523131" cy="76955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baseline="0" dirty="0"/>
            <a:t>Project Prioritisation</a:t>
          </a:r>
          <a:endParaRPr lang="en-GB" sz="1800" kern="1200" dirty="0"/>
        </a:p>
      </dsp:txBody>
      <dsp:txXfrm>
        <a:off x="3651900" y="2172426"/>
        <a:ext cx="2523131" cy="769555"/>
      </dsp:txXfrm>
    </dsp:sp>
    <dsp:sp modelId="{D54CD301-8086-46BB-86E9-AA4F9A74A139}">
      <dsp:nvSpPr>
        <dsp:cNvPr id="0" name=""/>
        <dsp:cNvSpPr/>
      </dsp:nvSpPr>
      <dsp:spPr>
        <a:xfrm>
          <a:off x="624143" y="4342319"/>
          <a:ext cx="2523131" cy="76955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baseline="0" dirty="0"/>
            <a:t>Roll-Out strategy</a:t>
          </a:r>
          <a:endParaRPr lang="en-GB" sz="2500" kern="1200" dirty="0"/>
        </a:p>
      </dsp:txBody>
      <dsp:txXfrm>
        <a:off x="624143" y="4342319"/>
        <a:ext cx="2523131" cy="769555"/>
      </dsp:txXfrm>
    </dsp:sp>
    <dsp:sp modelId="{B7813D52-6C17-4B5A-8155-AA52F2827680}">
      <dsp:nvSpPr>
        <dsp:cNvPr id="0" name=""/>
        <dsp:cNvSpPr/>
      </dsp:nvSpPr>
      <dsp:spPr>
        <a:xfrm>
          <a:off x="3651900" y="3257372"/>
          <a:ext cx="2523131" cy="76955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baseline="0" dirty="0"/>
            <a:t>Smooth roll-out</a:t>
          </a:r>
          <a:endParaRPr lang="en-GB" sz="1800" kern="1200" dirty="0"/>
        </a:p>
      </dsp:txBody>
      <dsp:txXfrm>
        <a:off x="3651900" y="3257372"/>
        <a:ext cx="2523131" cy="769555"/>
      </dsp:txXfrm>
    </dsp:sp>
    <dsp:sp modelId="{FF0999A2-A371-438B-9636-8BC14C9A22B5}">
      <dsp:nvSpPr>
        <dsp:cNvPr id="0" name=""/>
        <dsp:cNvSpPr/>
      </dsp:nvSpPr>
      <dsp:spPr>
        <a:xfrm>
          <a:off x="3651900" y="4342319"/>
          <a:ext cx="2523131" cy="76955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baseline="0" dirty="0"/>
            <a:t>Enables employees</a:t>
          </a:r>
          <a:endParaRPr lang="en-GB" sz="1800" kern="1200" dirty="0"/>
        </a:p>
      </dsp:txBody>
      <dsp:txXfrm>
        <a:off x="3651900" y="4342319"/>
        <a:ext cx="2523131" cy="769555"/>
      </dsp:txXfrm>
    </dsp:sp>
    <dsp:sp modelId="{C8A9065A-A7A5-43B2-B96A-0D8660C0C64A}">
      <dsp:nvSpPr>
        <dsp:cNvPr id="0" name=""/>
        <dsp:cNvSpPr/>
      </dsp:nvSpPr>
      <dsp:spPr>
        <a:xfrm>
          <a:off x="3651900" y="5427265"/>
          <a:ext cx="2523131" cy="769555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baseline="0" dirty="0"/>
            <a:t>Timely support </a:t>
          </a:r>
          <a:endParaRPr lang="en-GB" sz="1800" kern="1200" dirty="0"/>
        </a:p>
      </dsp:txBody>
      <dsp:txXfrm>
        <a:off x="3651900" y="5427265"/>
        <a:ext cx="2523131" cy="76955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7480A1-BFDC-4298-B195-411692E751F5}">
      <dsp:nvSpPr>
        <dsp:cNvPr id="0" name=""/>
        <dsp:cNvSpPr/>
      </dsp:nvSpPr>
      <dsp:spPr>
        <a:xfrm>
          <a:off x="1408" y="653150"/>
          <a:ext cx="5494955" cy="433884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300" kern="1200" baseline="0">
              <a:solidFill>
                <a:srgbClr val="F2C811"/>
              </a:solidFill>
            </a:rPr>
            <a:t>Corporate BI</a:t>
          </a:r>
          <a:endParaRPr lang="en-GB" sz="3300" kern="1200" dirty="0">
            <a:solidFill>
              <a:srgbClr val="F2C811"/>
            </a:solidFill>
          </a:endParaRPr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/>
            <a:t>Product evaluation</a:t>
          </a:r>
          <a:endParaRPr lang="en-GB" sz="2000" kern="1200" dirty="0"/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/>
            <a:t>Governance and security standards</a:t>
          </a:r>
          <a:endParaRPr lang="en-GB" sz="2000" kern="1200" dirty="0"/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/>
            <a:t>Infrastructure setup</a:t>
          </a:r>
          <a:endParaRPr lang="en-GB" sz="2000" kern="1200" dirty="0"/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/>
            <a:t>Support structure</a:t>
          </a:r>
          <a:endParaRPr lang="en-GB" sz="2000" kern="1200" dirty="0"/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/>
            <a:t>IT led solution delivery</a:t>
          </a:r>
          <a:endParaRPr lang="en-GB" sz="2000" kern="1200" dirty="0"/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/>
            <a:t>Training Program</a:t>
          </a:r>
          <a:endParaRPr lang="en-GB" sz="2000" kern="1200" dirty="0"/>
        </a:p>
      </dsp:txBody>
      <dsp:txXfrm>
        <a:off x="1408" y="653150"/>
        <a:ext cx="5494955" cy="4338849"/>
      </dsp:txXfrm>
    </dsp:sp>
    <dsp:sp modelId="{9C0711DF-9261-4564-AFC3-163E9BED3EB0}">
      <dsp:nvSpPr>
        <dsp:cNvPr id="0" name=""/>
        <dsp:cNvSpPr/>
      </dsp:nvSpPr>
      <dsp:spPr>
        <a:xfrm>
          <a:off x="6045859" y="666206"/>
          <a:ext cx="5494955" cy="4312737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300" kern="1200" baseline="0" dirty="0">
              <a:solidFill>
                <a:srgbClr val="F2C811"/>
              </a:solidFill>
            </a:rPr>
            <a:t>Business-Led Self Service BI</a:t>
          </a:r>
          <a:endParaRPr lang="en-GB" sz="3300" kern="1200" dirty="0">
            <a:solidFill>
              <a:srgbClr val="F2C811"/>
            </a:solidFill>
          </a:endParaRPr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/>
            <a:t>Build on the foundation laid down by IT</a:t>
          </a:r>
          <a:endParaRPr lang="en-GB" sz="2000" kern="1200" dirty="0"/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/>
            <a:t>Identification of Power BI Champions</a:t>
          </a:r>
          <a:endParaRPr lang="en-GB" sz="2000" kern="1200" dirty="0"/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/>
            <a:t>Roll-out at a team/department level</a:t>
          </a:r>
          <a:endParaRPr lang="en-GB" sz="2000" kern="1200" dirty="0"/>
        </a:p>
      </dsp:txBody>
      <dsp:txXfrm>
        <a:off x="6045859" y="666206"/>
        <a:ext cx="5494955" cy="431273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7480A1-BFDC-4298-B195-411692E751F5}">
      <dsp:nvSpPr>
        <dsp:cNvPr id="0" name=""/>
        <dsp:cNvSpPr/>
      </dsp:nvSpPr>
      <dsp:spPr>
        <a:xfrm>
          <a:off x="1408" y="653150"/>
          <a:ext cx="5494955" cy="433884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300" kern="1200" baseline="0" dirty="0">
              <a:solidFill>
                <a:srgbClr val="F2C811"/>
              </a:solidFill>
            </a:rPr>
            <a:t>Corporate BI</a:t>
          </a:r>
          <a:endParaRPr lang="en-GB" sz="3300" kern="1200" dirty="0">
            <a:solidFill>
              <a:srgbClr val="F2C811"/>
            </a:solidFill>
          </a:endParaRPr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/>
            <a:t>Product evaluation</a:t>
          </a:r>
          <a:endParaRPr lang="en-GB" sz="2000" kern="1200" dirty="0"/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/>
            <a:t>Governance and security standards</a:t>
          </a:r>
          <a:endParaRPr lang="en-GB" sz="2000" kern="1200" dirty="0"/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>
              <a:solidFill>
                <a:prstClr val="white"/>
              </a:solidFill>
              <a:latin typeface="Segoe UI"/>
              <a:ea typeface="+mn-ea"/>
              <a:cs typeface="+mn-cs"/>
            </a:rPr>
            <a:t>Centrally</a:t>
          </a:r>
          <a:r>
            <a:rPr lang="en-GB" sz="2000" kern="1200" baseline="0" dirty="0"/>
            <a:t> Managed Service</a:t>
          </a:r>
          <a:endParaRPr lang="en-GB" sz="2000" kern="1200" dirty="0"/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/>
            <a:t>Infrastructure setup</a:t>
          </a:r>
          <a:endParaRPr lang="en-GB" sz="2000" kern="1200" dirty="0"/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/>
            <a:t>Support structure</a:t>
          </a:r>
          <a:endParaRPr lang="en-GB" sz="2000" kern="1200" dirty="0"/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/>
            <a:t>IT led solution delivery</a:t>
          </a:r>
          <a:endParaRPr lang="en-GB" sz="2000" kern="1200" dirty="0"/>
        </a:p>
      </dsp:txBody>
      <dsp:txXfrm>
        <a:off x="1408" y="653150"/>
        <a:ext cx="5494955" cy="4338849"/>
      </dsp:txXfrm>
    </dsp:sp>
    <dsp:sp modelId="{9C0711DF-9261-4564-AFC3-163E9BED3EB0}">
      <dsp:nvSpPr>
        <dsp:cNvPr id="0" name=""/>
        <dsp:cNvSpPr/>
      </dsp:nvSpPr>
      <dsp:spPr>
        <a:xfrm>
          <a:off x="6045859" y="666206"/>
          <a:ext cx="5494955" cy="4312737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300" kern="1200" baseline="0">
              <a:solidFill>
                <a:srgbClr val="F2C811"/>
              </a:solidFill>
            </a:rPr>
            <a:t>Business-Led Self Service BI</a:t>
          </a:r>
          <a:endParaRPr lang="en-GB" sz="3300" kern="1200" dirty="0">
            <a:solidFill>
              <a:srgbClr val="F2C811"/>
            </a:solidFill>
          </a:endParaRPr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/>
            <a:t>Start gaining benefits of the tool immediately</a:t>
          </a:r>
          <a:endParaRPr lang="en-GB" sz="2000" kern="1200" dirty="0"/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>
              <a:solidFill>
                <a:prstClr val="white"/>
              </a:solidFill>
              <a:latin typeface="Segoe UI"/>
              <a:ea typeface="+mn-ea"/>
              <a:cs typeface="+mn-cs"/>
            </a:rPr>
            <a:t>Power BI Champions will emerge</a:t>
          </a:r>
          <a:endParaRPr lang="en-GB" sz="2000" kern="1200" dirty="0"/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>
              <a:solidFill>
                <a:prstClr val="white"/>
              </a:solidFill>
              <a:latin typeface="Segoe UI"/>
              <a:ea typeface="+mn-ea"/>
              <a:cs typeface="+mn-cs"/>
            </a:rPr>
            <a:t>Infrastructure setup</a:t>
          </a:r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>
              <a:solidFill>
                <a:prstClr val="white"/>
              </a:solidFill>
              <a:latin typeface="Segoe UI"/>
              <a:ea typeface="+mn-ea"/>
              <a:cs typeface="+mn-cs"/>
            </a:rPr>
            <a:t>Support structure</a:t>
          </a:r>
        </a:p>
        <a:p>
          <a:pPr marL="3600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2000" kern="1200" baseline="0" dirty="0">
              <a:solidFill>
                <a:prstClr val="white"/>
              </a:solidFill>
              <a:latin typeface="Segoe UI"/>
              <a:ea typeface="+mn-ea"/>
              <a:cs typeface="+mn-cs"/>
            </a:rPr>
            <a:t>End user/ Power user training</a:t>
          </a:r>
        </a:p>
      </dsp:txBody>
      <dsp:txXfrm>
        <a:off x="6045859" y="666206"/>
        <a:ext cx="5494955" cy="43127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5C472B-0BE7-420F-A37B-44BBF15E7929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58998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5C472B-0BE7-420F-A37B-44BBF15E7929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2303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5C472B-0BE7-420F-A37B-44BBF15E7929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70887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05107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2378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17643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4324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5C472B-0BE7-420F-A37B-44BBF15E7929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20588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5C472B-0BE7-420F-A37B-44BBF15E7929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98999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93028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5C472B-0BE7-420F-A37B-44BBF15E7929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75334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40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5918397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616243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482" y="1117590"/>
            <a:ext cx="11587037" cy="1655108"/>
          </a:xfrm>
        </p:spPr>
        <p:txBody>
          <a:bodyPr anchor="b"/>
          <a:lstStyle>
            <a:lvl1pPr indent="0" algn="l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204331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46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4117" r:id="rId3"/>
    <p:sldLayoutId id="2147484001" r:id="rId4"/>
    <p:sldLayoutId id="2147484116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j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j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j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j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2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png"/><Relationship Id="rId18" Type="http://schemas.openxmlformats.org/officeDocument/2006/relationships/image" Target="../media/image18.sv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1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6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sv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9.png"/><Relationship Id="rId14" Type="http://schemas.openxmlformats.org/officeDocument/2006/relationships/image" Target="../media/image14.sv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notesSlide" Target="../notesSlides/notesSlide4.xml"/><Relationship Id="rId7" Type="http://schemas.openxmlformats.org/officeDocument/2006/relationships/diagramColors" Target="../diagrams/colors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Rolling out Power B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269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Project Videos</a:t>
            </a:r>
            <a:endParaRPr lang="en-US" dirty="0"/>
          </a:p>
        </p:txBody>
      </p:sp>
      <p:sp>
        <p:nvSpPr>
          <p:cNvPr id="31" name="Content Placeholder 2"/>
          <p:cNvSpPr txBox="1">
            <a:spLocks/>
          </p:cNvSpPr>
          <p:nvPr/>
        </p:nvSpPr>
        <p:spPr>
          <a:xfrm>
            <a:off x="2002632" y="2194893"/>
            <a:ext cx="2203610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 sz="1600" b="1" dirty="0">
                <a:latin typeface="Segoe UI"/>
              </a:rPr>
              <a:t>Great starting poin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9" name="Content Placeholder 2"/>
          <p:cNvSpPr txBox="1">
            <a:spLocks/>
          </p:cNvSpPr>
          <p:nvPr/>
        </p:nvSpPr>
        <p:spPr>
          <a:xfrm>
            <a:off x="2002632" y="4044233"/>
            <a:ext cx="1947576" cy="428401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Preferred format</a:t>
            </a:r>
          </a:p>
        </p:txBody>
      </p:sp>
      <p:sp>
        <p:nvSpPr>
          <p:cNvPr id="55" name="Content Placeholder 2"/>
          <p:cNvSpPr txBox="1">
            <a:spLocks/>
          </p:cNvSpPr>
          <p:nvPr/>
        </p:nvSpPr>
        <p:spPr>
          <a:xfrm>
            <a:off x="2002631" y="3127172"/>
            <a:ext cx="2281793" cy="435376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 sz="1600" b="1" dirty="0">
                <a:latin typeface="Segoe UI"/>
              </a:rPr>
              <a:t>Available on demand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Content Placeholder 2"/>
          <p:cNvSpPr txBox="1">
            <a:spLocks/>
          </p:cNvSpPr>
          <p:nvPr/>
        </p:nvSpPr>
        <p:spPr>
          <a:xfrm>
            <a:off x="7762059" y="2194366"/>
            <a:ext cx="2815524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buClr>
                <a:srgbClr val="505050">
                  <a:lumMod val="60000"/>
                  <a:lumOff val="40000"/>
                </a:srgbClr>
              </a:buClr>
              <a:defRPr/>
            </a:pPr>
            <a:r>
              <a:rPr lang="en-US" sz="1600" b="1" dirty="0"/>
              <a:t>Introduction to the projec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624395" y="2629325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7" name="Content Placeholder 2"/>
          <p:cNvSpPr txBox="1">
            <a:spLocks/>
          </p:cNvSpPr>
          <p:nvPr/>
        </p:nvSpPr>
        <p:spPr>
          <a:xfrm>
            <a:off x="7757123" y="3125483"/>
            <a:ext cx="2684702" cy="428400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buClr>
                <a:srgbClr val="505050">
                  <a:lumMod val="60000"/>
                  <a:lumOff val="40000"/>
                </a:srgbClr>
              </a:buClr>
              <a:defRPr/>
            </a:pPr>
            <a:r>
              <a:rPr lang="en-US" sz="1600" b="1" dirty="0"/>
              <a:t>Highlight key capabilitie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7624395" y="3554961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756644" y="1257196"/>
            <a:ext cx="4586260" cy="1568698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-100" normalizeH="0" baseline="0" noProof="0" dirty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Why</a:t>
            </a:r>
          </a:p>
        </p:txBody>
      </p:sp>
      <p:sp>
        <p:nvSpPr>
          <p:cNvPr id="45" name="Rectangle 44"/>
          <p:cNvSpPr/>
          <p:nvPr/>
        </p:nvSpPr>
        <p:spPr>
          <a:xfrm>
            <a:off x="1863665" y="4473104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1863665" y="3562548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7757122" y="4054112"/>
            <a:ext cx="1705234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buClr>
                <a:srgbClr val="505050">
                  <a:lumMod val="60000"/>
                  <a:lumOff val="40000"/>
                </a:srgbClr>
              </a:buClr>
              <a:defRPr/>
            </a:pPr>
            <a:r>
              <a:rPr lang="en-US" sz="1600" b="1" dirty="0"/>
              <a:t>Usage scenario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7624395" y="4480592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" name="Content Placeholder 2"/>
          <p:cNvSpPr txBox="1">
            <a:spLocks/>
          </p:cNvSpPr>
          <p:nvPr/>
        </p:nvSpPr>
        <p:spPr>
          <a:xfrm>
            <a:off x="7757122" y="4983985"/>
            <a:ext cx="2172941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buClr>
                <a:srgbClr val="505050">
                  <a:lumMod val="60000"/>
                  <a:lumOff val="40000"/>
                </a:srgbClr>
              </a:buClr>
              <a:defRPr/>
            </a:pPr>
            <a:r>
              <a:rPr lang="en-US" sz="1600" b="1" dirty="0"/>
              <a:t>Next steps/Go-Do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7624395" y="5412476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863665" y="2637944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04E9DF36-5CC3-42D1-A056-2DEC0FEEAF7D}"/>
              </a:ext>
            </a:extLst>
          </p:cNvPr>
          <p:cNvSpPr txBox="1">
            <a:spLocks/>
          </p:cNvSpPr>
          <p:nvPr/>
        </p:nvSpPr>
        <p:spPr>
          <a:xfrm>
            <a:off x="6767274" y="1091340"/>
            <a:ext cx="4494868" cy="111574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GB" dirty="0">
                <a:latin typeface="Segoe UI Light"/>
              </a:rPr>
              <a:t>How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0AA8A24-C5A6-4D7F-85A5-2870B5B27E22}"/>
              </a:ext>
            </a:extLst>
          </p:cNvPr>
          <p:cNvSpPr/>
          <p:nvPr/>
        </p:nvSpPr>
        <p:spPr bwMode="auto">
          <a:xfrm>
            <a:off x="0" y="1091340"/>
            <a:ext cx="6202273" cy="5766659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err="1">
              <a:ln>
                <a:solidFill>
                  <a:sysClr val="windowText" lastClr="000000"/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99762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Tm="63268">
        <p159:morph option="byObject"/>
      </p:transition>
    </mc:Choice>
    <mc:Fallback xmlns="">
      <p:transition spd="slow" advTm="63268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29" grpId="0" animBg="1"/>
      <p:bldP spid="55" grpId="0" animBg="1"/>
      <p:bldP spid="20" grpId="0" animBg="1"/>
      <p:bldP spid="21" grpId="0" animBg="1"/>
      <p:bldP spid="27" grpId="0" animBg="1"/>
      <p:bldP spid="30" grpId="0" animBg="1"/>
      <p:bldP spid="18" grpId="0"/>
      <p:bldP spid="45" grpId="0" animBg="1"/>
      <p:bldP spid="56" grpId="0" animBg="1"/>
      <p:bldP spid="19" grpId="0" animBg="1"/>
      <p:bldP spid="22" grpId="0" animBg="1"/>
      <p:bldP spid="24" grpId="0" animBg="1"/>
      <p:bldP spid="25" grpId="0" animBg="1"/>
      <p:bldP spid="43" grpId="0" animBg="1"/>
      <p:bldP spid="35" grpId="0"/>
      <p:bldP spid="2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Communications</a:t>
            </a:r>
            <a:endParaRPr lang="en-US" dirty="0"/>
          </a:p>
        </p:txBody>
      </p:sp>
      <p:sp>
        <p:nvSpPr>
          <p:cNvPr id="31" name="Content Placeholder 2"/>
          <p:cNvSpPr txBox="1">
            <a:spLocks/>
          </p:cNvSpPr>
          <p:nvPr/>
        </p:nvSpPr>
        <p:spPr>
          <a:xfrm>
            <a:off x="1616259" y="2137574"/>
            <a:ext cx="3431852" cy="428401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buClr>
                <a:srgbClr val="505050">
                  <a:lumMod val="60000"/>
                  <a:lumOff val="40000"/>
                </a:srgbClr>
              </a:buClr>
              <a:defRPr/>
            </a:pPr>
            <a:r>
              <a:rPr lang="en-US" sz="1600" b="1" dirty="0"/>
              <a:t>Avoid confusion and uncertainty</a:t>
            </a:r>
          </a:p>
        </p:txBody>
      </p:sp>
      <p:sp>
        <p:nvSpPr>
          <p:cNvPr id="55" name="Content Placeholder 2"/>
          <p:cNvSpPr txBox="1">
            <a:spLocks/>
          </p:cNvSpPr>
          <p:nvPr/>
        </p:nvSpPr>
        <p:spPr>
          <a:xfrm>
            <a:off x="1616259" y="3117508"/>
            <a:ext cx="1510989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Signposting</a:t>
            </a:r>
          </a:p>
        </p:txBody>
      </p:sp>
      <p:sp>
        <p:nvSpPr>
          <p:cNvPr id="20" name="Content Placeholder 2"/>
          <p:cNvSpPr txBox="1">
            <a:spLocks/>
          </p:cNvSpPr>
          <p:nvPr/>
        </p:nvSpPr>
        <p:spPr>
          <a:xfrm>
            <a:off x="7936759" y="2204229"/>
            <a:ext cx="2139929" cy="428399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Purpose alignmen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799094" y="2637944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7" name="Content Placeholder 2"/>
          <p:cNvSpPr txBox="1">
            <a:spLocks/>
          </p:cNvSpPr>
          <p:nvPr/>
        </p:nvSpPr>
        <p:spPr>
          <a:xfrm>
            <a:off x="7931821" y="3134101"/>
            <a:ext cx="2139929" cy="434545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License assignment</a:t>
            </a:r>
          </a:p>
        </p:txBody>
      </p:sp>
      <p:sp>
        <p:nvSpPr>
          <p:cNvPr id="30" name="Rectangle 29"/>
          <p:cNvSpPr/>
          <p:nvPr/>
        </p:nvSpPr>
        <p:spPr>
          <a:xfrm>
            <a:off x="7799094" y="3563580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756644" y="1257196"/>
            <a:ext cx="4586260" cy="1568698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-100" normalizeH="0" baseline="0" noProof="0" dirty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Why</a:t>
            </a:r>
          </a:p>
        </p:txBody>
      </p:sp>
      <p:sp>
        <p:nvSpPr>
          <p:cNvPr id="56" name="Rectangle 55"/>
          <p:cNvSpPr/>
          <p:nvPr/>
        </p:nvSpPr>
        <p:spPr>
          <a:xfrm>
            <a:off x="1477293" y="3562548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7931820" y="4063975"/>
            <a:ext cx="2249371" cy="428400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Governance overview</a:t>
            </a:r>
          </a:p>
        </p:txBody>
      </p:sp>
      <p:sp>
        <p:nvSpPr>
          <p:cNvPr id="22" name="Rectangle 21"/>
          <p:cNvSpPr/>
          <p:nvPr/>
        </p:nvSpPr>
        <p:spPr>
          <a:xfrm>
            <a:off x="7799094" y="4489211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" name="Content Placeholder 2"/>
          <p:cNvSpPr txBox="1">
            <a:spLocks/>
          </p:cNvSpPr>
          <p:nvPr/>
        </p:nvSpPr>
        <p:spPr>
          <a:xfrm>
            <a:off x="7931821" y="5017365"/>
            <a:ext cx="1449923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Key contact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7799094" y="5421095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" name="Content Placeholder 2"/>
          <p:cNvSpPr txBox="1">
            <a:spLocks/>
          </p:cNvSpPr>
          <p:nvPr/>
        </p:nvSpPr>
        <p:spPr>
          <a:xfrm>
            <a:off x="7931823" y="5920897"/>
            <a:ext cx="1797394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Getting</a:t>
            </a:r>
            <a:r>
              <a:rPr kumimoji="0" lang="en-US" sz="16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 started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7799094" y="6351798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477293" y="2637944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04E9DF36-5CC3-42D1-A056-2DEC0FEEAF7D}"/>
              </a:ext>
            </a:extLst>
          </p:cNvPr>
          <p:cNvSpPr txBox="1">
            <a:spLocks/>
          </p:cNvSpPr>
          <p:nvPr/>
        </p:nvSpPr>
        <p:spPr>
          <a:xfrm>
            <a:off x="6767274" y="1091340"/>
            <a:ext cx="4494868" cy="111574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GB" dirty="0">
                <a:latin typeface="Segoe UI Light"/>
              </a:rPr>
              <a:t>How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7915F8F-7F0B-423A-BC5B-A710083DDA18}"/>
              </a:ext>
            </a:extLst>
          </p:cNvPr>
          <p:cNvSpPr/>
          <p:nvPr/>
        </p:nvSpPr>
        <p:spPr bwMode="auto">
          <a:xfrm>
            <a:off x="4343" y="1091340"/>
            <a:ext cx="6202273" cy="5766659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err="1">
              <a:ln>
                <a:solidFill>
                  <a:sysClr val="windowText" lastClr="000000"/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021285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Tm="66768">
        <p159:morph option="byObject"/>
      </p:transition>
    </mc:Choice>
    <mc:Fallback xmlns="">
      <p:transition spd="slow" advTm="66768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"/>
                            </p:stCondLst>
                            <p:childTnLst>
                              <p:par>
                                <p:cTn id="6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55" grpId="0" animBg="1"/>
      <p:bldP spid="20" grpId="0" animBg="1"/>
      <p:bldP spid="21" grpId="0" animBg="1"/>
      <p:bldP spid="27" grpId="0" animBg="1"/>
      <p:bldP spid="30" grpId="0" animBg="1"/>
      <p:bldP spid="18" grpId="0"/>
      <p:bldP spid="56" grpId="0" animBg="1"/>
      <p:bldP spid="19" grpId="0" animBg="1"/>
      <p:bldP spid="22" grpId="0" animBg="1"/>
      <p:bldP spid="24" grpId="0" animBg="1"/>
      <p:bldP spid="25" grpId="0" animBg="1"/>
      <p:bldP spid="32" grpId="0" animBg="1"/>
      <p:bldP spid="33" grpId="0" animBg="1"/>
      <p:bldP spid="43" grpId="0" animBg="1"/>
      <p:bldP spid="35" grpId="0"/>
      <p:bldP spid="2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Training</a:t>
            </a:r>
            <a:endParaRPr lang="en-US" dirty="0"/>
          </a:p>
        </p:txBody>
      </p:sp>
      <p:sp>
        <p:nvSpPr>
          <p:cNvPr id="31" name="Content Placeholder 2"/>
          <p:cNvSpPr txBox="1">
            <a:spLocks/>
          </p:cNvSpPr>
          <p:nvPr/>
        </p:nvSpPr>
        <p:spPr>
          <a:xfrm>
            <a:off x="1616259" y="2169657"/>
            <a:ext cx="3271830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buClr>
                <a:srgbClr val="505050">
                  <a:lumMod val="60000"/>
                  <a:lumOff val="40000"/>
                </a:srgbClr>
              </a:buClr>
              <a:defRPr/>
            </a:pPr>
            <a:r>
              <a:rPr lang="en-US" sz="1600" b="1" dirty="0"/>
              <a:t>Enable employees appropriately</a:t>
            </a:r>
          </a:p>
        </p:txBody>
      </p:sp>
      <p:sp>
        <p:nvSpPr>
          <p:cNvPr id="55" name="Content Placeholder 2"/>
          <p:cNvSpPr txBox="1">
            <a:spLocks/>
          </p:cNvSpPr>
          <p:nvPr/>
        </p:nvSpPr>
        <p:spPr>
          <a:xfrm>
            <a:off x="1616259" y="3117508"/>
            <a:ext cx="3156909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Minimize fear and resistance</a:t>
            </a:r>
          </a:p>
        </p:txBody>
      </p:sp>
      <p:sp>
        <p:nvSpPr>
          <p:cNvPr id="20" name="Content Placeholder 2"/>
          <p:cNvSpPr txBox="1">
            <a:spLocks/>
          </p:cNvSpPr>
          <p:nvPr/>
        </p:nvSpPr>
        <p:spPr>
          <a:xfrm>
            <a:off x="7863607" y="2207057"/>
            <a:ext cx="2834872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Training needs assessmen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725942" y="2637944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7" name="Content Placeholder 2"/>
          <p:cNvSpPr txBox="1">
            <a:spLocks/>
          </p:cNvSpPr>
          <p:nvPr/>
        </p:nvSpPr>
        <p:spPr>
          <a:xfrm>
            <a:off x="7858668" y="3138381"/>
            <a:ext cx="2839811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Establish training program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7725942" y="3563580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756644" y="1257196"/>
            <a:ext cx="4586260" cy="1568698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-100" normalizeH="0" baseline="0" noProof="0" dirty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Why</a:t>
            </a:r>
          </a:p>
        </p:txBody>
      </p:sp>
      <p:sp>
        <p:nvSpPr>
          <p:cNvPr id="56" name="Rectangle 55"/>
          <p:cNvSpPr/>
          <p:nvPr/>
        </p:nvSpPr>
        <p:spPr>
          <a:xfrm>
            <a:off x="1477293" y="3562548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7863607" y="4057714"/>
            <a:ext cx="2656932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Leverage online resource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7725942" y="4489211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" name="Content Placeholder 2"/>
          <p:cNvSpPr txBox="1">
            <a:spLocks/>
          </p:cNvSpPr>
          <p:nvPr/>
        </p:nvSpPr>
        <p:spPr>
          <a:xfrm>
            <a:off x="7863607" y="4991043"/>
            <a:ext cx="2839810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Pilot training and feedback</a:t>
            </a:r>
          </a:p>
        </p:txBody>
      </p:sp>
      <p:sp>
        <p:nvSpPr>
          <p:cNvPr id="25" name="Rectangle 24"/>
          <p:cNvSpPr/>
          <p:nvPr/>
        </p:nvSpPr>
        <p:spPr>
          <a:xfrm>
            <a:off x="7725942" y="5421095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477293" y="2637944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04E9DF36-5CC3-42D1-A056-2DEC0FEEAF7D}"/>
              </a:ext>
            </a:extLst>
          </p:cNvPr>
          <p:cNvSpPr txBox="1">
            <a:spLocks/>
          </p:cNvSpPr>
          <p:nvPr/>
        </p:nvSpPr>
        <p:spPr>
          <a:xfrm>
            <a:off x="6767274" y="1091340"/>
            <a:ext cx="4494868" cy="111574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GB" dirty="0">
                <a:latin typeface="Segoe UI Light"/>
              </a:rPr>
              <a:t>How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5EE3EE-ABE3-454F-9410-721CA8D662D4}"/>
              </a:ext>
            </a:extLst>
          </p:cNvPr>
          <p:cNvSpPr txBox="1">
            <a:spLocks/>
          </p:cNvSpPr>
          <p:nvPr/>
        </p:nvSpPr>
        <p:spPr>
          <a:xfrm>
            <a:off x="1616260" y="4070848"/>
            <a:ext cx="1947576" cy="428401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Minimize</a:t>
            </a:r>
            <a:r>
              <a:rPr kumimoji="0" lang="en-US" sz="16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 Risk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0C5BA51-7182-45CE-8FA5-E8A6F833191F}"/>
              </a:ext>
            </a:extLst>
          </p:cNvPr>
          <p:cNvSpPr/>
          <p:nvPr/>
        </p:nvSpPr>
        <p:spPr>
          <a:xfrm>
            <a:off x="1477293" y="4499719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A8BCACA-2B6A-4932-A8B9-9ED7CEA79119}"/>
              </a:ext>
            </a:extLst>
          </p:cNvPr>
          <p:cNvSpPr/>
          <p:nvPr/>
        </p:nvSpPr>
        <p:spPr bwMode="auto">
          <a:xfrm>
            <a:off x="16834" y="1091340"/>
            <a:ext cx="6202273" cy="5766659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err="1">
              <a:ln>
                <a:solidFill>
                  <a:sysClr val="windowText" lastClr="000000"/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97777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Tm="72238">
        <p159:morph option="byObject"/>
      </p:transition>
    </mc:Choice>
    <mc:Fallback xmlns="">
      <p:transition spd="slow" advTm="72238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"/>
                            </p:stCondLst>
                            <p:childTnLst>
                              <p:par>
                                <p:cTn id="5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55" grpId="0" animBg="1"/>
      <p:bldP spid="20" grpId="0" animBg="1"/>
      <p:bldP spid="21" grpId="0" animBg="1"/>
      <p:bldP spid="27" grpId="0" animBg="1"/>
      <p:bldP spid="30" grpId="0" animBg="1"/>
      <p:bldP spid="18" grpId="0"/>
      <p:bldP spid="56" grpId="0" animBg="1"/>
      <p:bldP spid="19" grpId="0" animBg="1"/>
      <p:bldP spid="22" grpId="0" animBg="1"/>
      <p:bldP spid="24" grpId="0" animBg="1"/>
      <p:bldP spid="25" grpId="0" animBg="1"/>
      <p:bldP spid="43" grpId="0" animBg="1"/>
      <p:bldP spid="35" grpId="0"/>
      <p:bldP spid="26" grpId="0" animBg="1"/>
      <p:bldP spid="28" grpId="0" animBg="1"/>
      <p:bldP spid="2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32269-2646-4E69-B292-44CEB2100E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5436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ed for a Roll-out Strategy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229227938"/>
              </p:ext>
            </p:extLst>
          </p:nvPr>
        </p:nvGraphicFramePr>
        <p:xfrm>
          <a:off x="4651607" y="440437"/>
          <a:ext cx="6799175" cy="61993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48496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7212">
        <p:fade/>
      </p:transition>
    </mc:Choice>
    <mc:Fallback xmlns="">
      <p:transition spd="med" advTm="10721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B3AFAB1-3D0B-41CE-8084-792C150D3A9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7B3AFAB1-3D0B-41CE-8084-792C150D3A9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EE92C3F-5928-45C2-AFAF-03A82F740A8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graphicEl>
                                              <a:dgm id="{BEE92C3F-5928-45C2-AFAF-03A82F740A8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E860E76-4F9E-4821-8118-1829949212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graphicEl>
                                              <a:dgm id="{7E860E76-4F9E-4821-8118-18299492122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D75CFDE-5DAB-4A9F-A066-D1C8A836DAB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>
                                            <p:graphicEl>
                                              <a:dgm id="{3D75CFDE-5DAB-4A9F-A066-D1C8A836DAB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4C257C8-9A5A-4199-8400-B8F1BA216CD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graphicEl>
                                              <a:dgm id="{14C257C8-9A5A-4199-8400-B8F1BA216CD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F2187BD-A438-45F7-B04E-F9CF460E4C0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>
                                            <p:graphicEl>
                                              <a:dgm id="{9F2187BD-A438-45F7-B04E-F9CF460E4C0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A0367830-297B-46FD-B40E-58BCFDB09A4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">
                                            <p:graphicEl>
                                              <a:dgm id="{A0367830-297B-46FD-B40E-58BCFDB09A4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D54CD301-8086-46BB-86E9-AA4F9A74A13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>
                                            <p:graphicEl>
                                              <a:dgm id="{D54CD301-8086-46BB-86E9-AA4F9A74A13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57B647A-4E85-476E-B0F2-05C7E949843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">
                                            <p:graphicEl>
                                              <a:dgm id="{E57B647A-4E85-476E-B0F2-05C7E949843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7813D52-6C17-4B5A-8155-AA52F282768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">
                                            <p:graphicEl>
                                              <a:dgm id="{B7813D52-6C17-4B5A-8155-AA52F282768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08CF8413-0EEB-43DB-8CFA-C41D58448C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">
                                            <p:graphicEl>
                                              <a:dgm id="{08CF8413-0EEB-43DB-8CFA-C41D58448CE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0999A2-A371-438B-9636-8BC14C9A22B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">
                                            <p:graphicEl>
                                              <a:dgm id="{FF0999A2-A371-438B-9636-8BC14C9A22B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C194065-8BB9-40A4-8875-C19BF6770BD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>
                                            <p:graphicEl>
                                              <a:dgm id="{FC194065-8BB9-40A4-8875-C19BF6770BD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C8A9065A-A7A5-43B2-B96A-0D8660C0C64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">
                                            <p:graphicEl>
                                              <a:dgm id="{C8A9065A-A7A5-43B2-B96A-0D8660C0C64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000" dirty="0"/>
              <a:t>Roll-Out Consideratio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C39A657-A30C-4753-8B78-67AEF0F52FAC}"/>
              </a:ext>
            </a:extLst>
          </p:cNvPr>
          <p:cNvSpPr/>
          <p:nvPr/>
        </p:nvSpPr>
        <p:spPr>
          <a:xfrm>
            <a:off x="5946840" y="490532"/>
            <a:ext cx="5881745" cy="5792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sz="2400" baseline="0" dirty="0"/>
              <a:t>Phased vs Organisation wide roll-out</a:t>
            </a:r>
          </a:p>
          <a:p>
            <a:pPr lvl="0"/>
            <a:endParaRPr lang="en-GB" sz="2400" dirty="0"/>
          </a:p>
          <a:p>
            <a:pPr lvl="0"/>
            <a:r>
              <a:rPr lang="en-GB" sz="2400" baseline="0" dirty="0"/>
              <a:t>License assignment process</a:t>
            </a:r>
          </a:p>
          <a:p>
            <a:pPr lvl="0"/>
            <a:endParaRPr lang="en-GB" sz="2400" dirty="0"/>
          </a:p>
          <a:p>
            <a:pPr lvl="0"/>
            <a:r>
              <a:rPr lang="en-GB" sz="2400" baseline="0" dirty="0"/>
              <a:t>Roll-out of Power BI Desktop</a:t>
            </a:r>
          </a:p>
          <a:p>
            <a:pPr lvl="0"/>
            <a:endParaRPr lang="en-GB" sz="2400" dirty="0"/>
          </a:p>
          <a:p>
            <a:pPr lvl="0"/>
            <a:r>
              <a:rPr lang="en-GB" sz="2400" baseline="0" dirty="0"/>
              <a:t>Project selection</a:t>
            </a:r>
          </a:p>
          <a:p>
            <a:pPr lvl="0"/>
            <a:endParaRPr lang="en-GB" sz="2400" dirty="0"/>
          </a:p>
          <a:p>
            <a:pPr lvl="0"/>
            <a:r>
              <a:rPr lang="en-GB" sz="2400" baseline="0" dirty="0"/>
              <a:t>Change management</a:t>
            </a:r>
          </a:p>
          <a:p>
            <a:pPr lvl="0"/>
            <a:endParaRPr lang="en-GB" sz="2400" dirty="0"/>
          </a:p>
          <a:p>
            <a:pPr lvl="0"/>
            <a:r>
              <a:rPr lang="en-GB" sz="2400" baseline="0" dirty="0"/>
              <a:t>Video for each project</a:t>
            </a:r>
          </a:p>
          <a:p>
            <a:pPr lvl="0"/>
            <a:endParaRPr lang="en-GB" sz="2400" dirty="0"/>
          </a:p>
          <a:p>
            <a:r>
              <a:rPr lang="en-GB" sz="2400" dirty="0"/>
              <a:t>Communications</a:t>
            </a:r>
          </a:p>
          <a:p>
            <a:pPr lvl="0"/>
            <a:endParaRPr lang="en-GB" sz="2400" baseline="0" dirty="0"/>
          </a:p>
          <a:p>
            <a:pPr lvl="0"/>
            <a:r>
              <a:rPr lang="en-GB" sz="2400" baseline="0" dirty="0"/>
              <a:t>Training</a:t>
            </a:r>
          </a:p>
          <a:p>
            <a:pPr lvl="0"/>
            <a:endParaRPr lang="en-GB" sz="2400" dirty="0"/>
          </a:p>
        </p:txBody>
      </p:sp>
      <p:pic>
        <p:nvPicPr>
          <p:cNvPr id="6" name="Graphic 5" descr="Team">
            <a:extLst>
              <a:ext uri="{FF2B5EF4-FFF2-40B4-BE49-F238E27FC236}">
                <a16:creationId xmlns:a16="http://schemas.microsoft.com/office/drawing/2014/main" id="{04F96D4D-04EE-4974-BE7D-040D568B47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31816" y="3315549"/>
            <a:ext cx="629469" cy="629469"/>
          </a:xfrm>
          <a:prstGeom prst="rect">
            <a:avLst/>
          </a:prstGeom>
        </p:spPr>
      </p:pic>
      <p:pic>
        <p:nvPicPr>
          <p:cNvPr id="8" name="Graphic 7" descr="Checklist">
            <a:extLst>
              <a:ext uri="{FF2B5EF4-FFF2-40B4-BE49-F238E27FC236}">
                <a16:creationId xmlns:a16="http://schemas.microsoft.com/office/drawing/2014/main" id="{4DCBA9B1-EF3F-42C8-A708-AC01E617A9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31816" y="2598244"/>
            <a:ext cx="629469" cy="629469"/>
          </a:xfrm>
          <a:prstGeom prst="rect">
            <a:avLst/>
          </a:prstGeom>
        </p:spPr>
      </p:pic>
      <p:pic>
        <p:nvPicPr>
          <p:cNvPr id="10" name="Graphic 9" descr="Bar chart">
            <a:extLst>
              <a:ext uri="{FF2B5EF4-FFF2-40B4-BE49-F238E27FC236}">
                <a16:creationId xmlns:a16="http://schemas.microsoft.com/office/drawing/2014/main" id="{E27173B4-54E2-4C45-A8CB-C7F37B0830C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31816" y="1880939"/>
            <a:ext cx="629469" cy="629469"/>
          </a:xfrm>
          <a:prstGeom prst="rect">
            <a:avLst/>
          </a:prstGeom>
        </p:spPr>
      </p:pic>
      <p:pic>
        <p:nvPicPr>
          <p:cNvPr id="14" name="Graphic 13" descr="Video camera">
            <a:extLst>
              <a:ext uri="{FF2B5EF4-FFF2-40B4-BE49-F238E27FC236}">
                <a16:creationId xmlns:a16="http://schemas.microsoft.com/office/drawing/2014/main" id="{5ADAE256-7774-4875-A149-E209AD72AF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31816" y="4032854"/>
            <a:ext cx="629469" cy="629469"/>
          </a:xfrm>
          <a:prstGeom prst="rect">
            <a:avLst/>
          </a:prstGeom>
        </p:spPr>
      </p:pic>
      <p:pic>
        <p:nvPicPr>
          <p:cNvPr id="18" name="Graphic 17" descr="Scales of Justice">
            <a:extLst>
              <a:ext uri="{FF2B5EF4-FFF2-40B4-BE49-F238E27FC236}">
                <a16:creationId xmlns:a16="http://schemas.microsoft.com/office/drawing/2014/main" id="{84E9F257-5365-476A-B64B-E5BD560523C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931816" y="446329"/>
            <a:ext cx="629469" cy="629469"/>
          </a:xfrm>
          <a:prstGeom prst="rect">
            <a:avLst/>
          </a:prstGeom>
        </p:spPr>
      </p:pic>
      <p:pic>
        <p:nvPicPr>
          <p:cNvPr id="22" name="Graphic 21" descr="Drum">
            <a:extLst>
              <a:ext uri="{FF2B5EF4-FFF2-40B4-BE49-F238E27FC236}">
                <a16:creationId xmlns:a16="http://schemas.microsoft.com/office/drawing/2014/main" id="{6836F56B-FE83-4FF9-BE27-04ADC7221DD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931816" y="4772794"/>
            <a:ext cx="629469" cy="629469"/>
          </a:xfrm>
          <a:prstGeom prst="rect">
            <a:avLst/>
          </a:prstGeom>
        </p:spPr>
      </p:pic>
      <p:pic>
        <p:nvPicPr>
          <p:cNvPr id="26" name="Graphic 25" descr="Teacher">
            <a:extLst>
              <a:ext uri="{FF2B5EF4-FFF2-40B4-BE49-F238E27FC236}">
                <a16:creationId xmlns:a16="http://schemas.microsoft.com/office/drawing/2014/main" id="{D6D0476A-03E8-42FF-8EC4-56FB03981E8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931816" y="5573123"/>
            <a:ext cx="629469" cy="629469"/>
          </a:xfrm>
          <a:prstGeom prst="rect">
            <a:avLst/>
          </a:prstGeom>
        </p:spPr>
      </p:pic>
      <p:pic>
        <p:nvPicPr>
          <p:cNvPr id="28" name="Graphic 27" descr="List">
            <a:extLst>
              <a:ext uri="{FF2B5EF4-FFF2-40B4-BE49-F238E27FC236}">
                <a16:creationId xmlns:a16="http://schemas.microsoft.com/office/drawing/2014/main" id="{6270F9A9-22ED-4048-A94B-11BC934B558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931816" y="1163634"/>
            <a:ext cx="629469" cy="629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220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78301">
        <p:fade/>
      </p:transition>
    </mc:Choice>
    <mc:Fallback xmlns="">
      <p:transition spd="med" advTm="78301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hased roll-out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133193027"/>
              </p:ext>
            </p:extLst>
          </p:nvPr>
        </p:nvGraphicFramePr>
        <p:xfrm>
          <a:off x="274638" y="1212850"/>
          <a:ext cx="11542224" cy="5645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Arrow: Right 5"/>
          <p:cNvSpPr/>
          <p:nvPr/>
        </p:nvSpPr>
        <p:spPr bwMode="auto">
          <a:xfrm>
            <a:off x="5861111" y="3507886"/>
            <a:ext cx="369277" cy="378070"/>
          </a:xfrm>
          <a:prstGeom prst="rightArrow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2291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65832">
        <p:fade/>
      </p:transition>
    </mc:Choice>
    <mc:Fallback xmlns="">
      <p:transition spd="med" advTm="16583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197480A1-BFDC-4298-B195-411692E751F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graphicEl>
                                              <a:dgm id="{197480A1-BFDC-4298-B195-411692E751F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9C0711DF-9261-4564-AFC3-163E9BED3EB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graphicEl>
                                              <a:dgm id="{9C0711DF-9261-4564-AFC3-163E9BED3EB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 uiExpand="1">
        <p:bldSub>
          <a:bldDgm bld="one"/>
        </p:bldSub>
      </p:bldGraphic>
      <p:bldP spid="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erprise wide roll-out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543328431"/>
              </p:ext>
            </p:extLst>
          </p:nvPr>
        </p:nvGraphicFramePr>
        <p:xfrm>
          <a:off x="274638" y="1212850"/>
          <a:ext cx="11542224" cy="5645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Plus Sign 4">
            <a:extLst>
              <a:ext uri="{FF2B5EF4-FFF2-40B4-BE49-F238E27FC236}">
                <a16:creationId xmlns:a16="http://schemas.microsoft.com/office/drawing/2014/main" id="{E94A2D92-359B-4EDF-A4DF-4FD67549CFF7}"/>
              </a:ext>
            </a:extLst>
          </p:cNvPr>
          <p:cNvSpPr/>
          <p:nvPr/>
        </p:nvSpPr>
        <p:spPr bwMode="auto">
          <a:xfrm>
            <a:off x="5811954" y="3631379"/>
            <a:ext cx="467591" cy="509154"/>
          </a:xfrm>
          <a:prstGeom prst="mathPlus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4200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05573">
        <p:fade/>
      </p:transition>
    </mc:Choice>
    <mc:Fallback xmlns="">
      <p:transition spd="med" advTm="205573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Power BI Desktop Roll-out</a:t>
            </a:r>
            <a:endParaRPr lang="en-US" dirty="0"/>
          </a:p>
        </p:txBody>
      </p:sp>
      <p:sp>
        <p:nvSpPr>
          <p:cNvPr id="31" name="Content Placeholder 2"/>
          <p:cNvSpPr txBox="1">
            <a:spLocks/>
          </p:cNvSpPr>
          <p:nvPr/>
        </p:nvSpPr>
        <p:spPr>
          <a:xfrm>
            <a:off x="1435704" y="2194893"/>
            <a:ext cx="3867816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 sz="1600" b="1" dirty="0">
                <a:latin typeface="Segoe UI"/>
              </a:rPr>
              <a:t>Authoring requires some governanc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9" name="Content Placeholder 2"/>
          <p:cNvSpPr txBox="1">
            <a:spLocks/>
          </p:cNvSpPr>
          <p:nvPr/>
        </p:nvSpPr>
        <p:spPr>
          <a:xfrm>
            <a:off x="1435704" y="4044233"/>
            <a:ext cx="1947576" cy="428401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Update frequency</a:t>
            </a:r>
          </a:p>
        </p:txBody>
      </p:sp>
      <p:sp>
        <p:nvSpPr>
          <p:cNvPr id="55" name="Content Placeholder 2"/>
          <p:cNvSpPr txBox="1">
            <a:spLocks/>
          </p:cNvSpPr>
          <p:nvPr/>
        </p:nvSpPr>
        <p:spPr>
          <a:xfrm>
            <a:off x="1435703" y="3127172"/>
            <a:ext cx="2281793" cy="435376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 sz="1600" b="1" dirty="0">
                <a:latin typeface="Segoe UI"/>
              </a:rPr>
              <a:t>Capacity to suppor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Content Placeholder 2"/>
          <p:cNvSpPr txBox="1">
            <a:spLocks/>
          </p:cNvSpPr>
          <p:nvPr/>
        </p:nvSpPr>
        <p:spPr>
          <a:xfrm>
            <a:off x="7798635" y="2167952"/>
            <a:ext cx="2643813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buClr>
                <a:srgbClr val="505050">
                  <a:lumMod val="60000"/>
                  <a:lumOff val="40000"/>
                </a:srgbClr>
              </a:buClr>
              <a:defRPr/>
            </a:pPr>
            <a:r>
              <a:rPr lang="en-US" sz="1600" b="1" dirty="0"/>
              <a:t>Consider Phased roll-ou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660971" y="2629325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7" name="Content Placeholder 2"/>
          <p:cNvSpPr txBox="1">
            <a:spLocks/>
          </p:cNvSpPr>
          <p:nvPr/>
        </p:nvSpPr>
        <p:spPr>
          <a:xfrm>
            <a:off x="7793699" y="3128571"/>
            <a:ext cx="1943859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Clr>
                <a:srgbClr val="505050">
                  <a:lumMod val="60000"/>
                  <a:lumOff val="40000"/>
                </a:srgbClr>
              </a:buClr>
              <a:defRPr/>
            </a:pPr>
            <a:r>
              <a:rPr lang="en-US" sz="1600" b="1" dirty="0"/>
              <a:t>Capacity planning</a:t>
            </a:r>
          </a:p>
        </p:txBody>
      </p:sp>
      <p:sp>
        <p:nvSpPr>
          <p:cNvPr id="30" name="Rectangle 29"/>
          <p:cNvSpPr/>
          <p:nvPr/>
        </p:nvSpPr>
        <p:spPr>
          <a:xfrm>
            <a:off x="7660971" y="3554961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756644" y="1257196"/>
            <a:ext cx="4586260" cy="1568698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-100" normalizeH="0" baseline="0" noProof="0" dirty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Why</a:t>
            </a:r>
          </a:p>
        </p:txBody>
      </p:sp>
      <p:sp>
        <p:nvSpPr>
          <p:cNvPr id="45" name="Rectangle 44"/>
          <p:cNvSpPr/>
          <p:nvPr/>
        </p:nvSpPr>
        <p:spPr>
          <a:xfrm>
            <a:off x="1296737" y="4473104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1296737" y="3562548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7793697" y="4054112"/>
            <a:ext cx="2643813" cy="437065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buClr>
                <a:srgbClr val="505050">
                  <a:lumMod val="60000"/>
                  <a:lumOff val="40000"/>
                </a:srgbClr>
              </a:buClr>
              <a:defRPr/>
            </a:pPr>
            <a:r>
              <a:rPr lang="en-US" sz="1600" b="1" dirty="0"/>
              <a:t>Alignment with training</a:t>
            </a:r>
          </a:p>
        </p:txBody>
      </p:sp>
      <p:sp>
        <p:nvSpPr>
          <p:cNvPr id="22" name="Rectangle 21"/>
          <p:cNvSpPr/>
          <p:nvPr/>
        </p:nvSpPr>
        <p:spPr>
          <a:xfrm>
            <a:off x="7660971" y="4480592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" name="Content Placeholder 2"/>
          <p:cNvSpPr txBox="1">
            <a:spLocks/>
          </p:cNvSpPr>
          <p:nvPr/>
        </p:nvSpPr>
        <p:spPr>
          <a:xfrm>
            <a:off x="7793698" y="4998699"/>
            <a:ext cx="2956839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buClr>
                <a:srgbClr val="505050">
                  <a:lumMod val="60000"/>
                  <a:lumOff val="40000"/>
                </a:srgbClr>
              </a:buClr>
              <a:defRPr/>
            </a:pPr>
            <a:r>
              <a:rPr lang="en-US" sz="1600" b="1" dirty="0"/>
              <a:t>Audit and security readines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7660971" y="5412476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296737" y="2637944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04E9DF36-5CC3-42D1-A056-2DEC0FEEAF7D}"/>
              </a:ext>
            </a:extLst>
          </p:cNvPr>
          <p:cNvSpPr txBox="1">
            <a:spLocks/>
          </p:cNvSpPr>
          <p:nvPr/>
        </p:nvSpPr>
        <p:spPr>
          <a:xfrm>
            <a:off x="6767274" y="1091340"/>
            <a:ext cx="4494868" cy="111574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GB" dirty="0">
                <a:latin typeface="Segoe UI Light"/>
              </a:rPr>
              <a:t>How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46BD642-8003-4B47-AE22-902BE249F812}"/>
              </a:ext>
            </a:extLst>
          </p:cNvPr>
          <p:cNvSpPr/>
          <p:nvPr/>
        </p:nvSpPr>
        <p:spPr bwMode="auto">
          <a:xfrm>
            <a:off x="-106273" y="936166"/>
            <a:ext cx="6202273" cy="5766659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err="1">
              <a:ln>
                <a:solidFill>
                  <a:sysClr val="windowText" lastClr="000000"/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228938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Tm="135081">
        <p159:morph option="byObject"/>
      </p:transition>
    </mc:Choice>
    <mc:Fallback xmlns="">
      <p:transition spd="slow" advTm="13508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5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2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uiExpand="1" build="p" animBg="1"/>
      <p:bldP spid="29" grpId="0" uiExpand="1" build="p" animBg="1"/>
      <p:bldP spid="55" grpId="0" uiExpand="1" build="p" animBg="1"/>
      <p:bldP spid="20" grpId="0" animBg="1"/>
      <p:bldP spid="21" grpId="0" animBg="1"/>
      <p:bldP spid="27" grpId="0" animBg="1"/>
      <p:bldP spid="30" grpId="0" animBg="1"/>
      <p:bldP spid="18" grpId="0"/>
      <p:bldP spid="45" grpId="0" animBg="1"/>
      <p:bldP spid="56" grpId="0" animBg="1"/>
      <p:bldP spid="19" grpId="0" animBg="1"/>
      <p:bldP spid="22" grpId="0" animBg="1"/>
      <p:bldP spid="24" grpId="0" animBg="1"/>
      <p:bldP spid="25" grpId="0" animBg="1"/>
      <p:bldP spid="43" grpId="0" animBg="1"/>
      <p:bldP spid="35" grpId="0"/>
      <p:bldP spid="2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Project Selection</a:t>
            </a:r>
            <a:endParaRPr lang="en-US" dirty="0"/>
          </a:p>
        </p:txBody>
      </p:sp>
      <p:sp>
        <p:nvSpPr>
          <p:cNvPr id="31" name="Content Placeholder 2"/>
          <p:cNvSpPr txBox="1">
            <a:spLocks/>
          </p:cNvSpPr>
          <p:nvPr/>
        </p:nvSpPr>
        <p:spPr>
          <a:xfrm>
            <a:off x="1911192" y="2204229"/>
            <a:ext cx="2412616" cy="428400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 sz="1600" b="1" dirty="0">
                <a:latin typeface="Segoe UI"/>
              </a:rPr>
              <a:t>Quicker Developmen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9" name="Content Placeholder 2"/>
          <p:cNvSpPr txBox="1">
            <a:spLocks/>
          </p:cNvSpPr>
          <p:nvPr/>
        </p:nvSpPr>
        <p:spPr>
          <a:xfrm>
            <a:off x="1911192" y="4044234"/>
            <a:ext cx="2660810" cy="428400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Greater Business Impact</a:t>
            </a:r>
          </a:p>
        </p:txBody>
      </p:sp>
      <p:sp>
        <p:nvSpPr>
          <p:cNvPr id="51" name="Content Placeholder 2"/>
          <p:cNvSpPr txBox="1">
            <a:spLocks/>
          </p:cNvSpPr>
          <p:nvPr/>
        </p:nvSpPr>
        <p:spPr>
          <a:xfrm>
            <a:off x="1911191" y="4983362"/>
            <a:ext cx="2203611" cy="428400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Minimal disruption</a:t>
            </a:r>
          </a:p>
        </p:txBody>
      </p:sp>
      <p:sp>
        <p:nvSpPr>
          <p:cNvPr id="55" name="Content Placeholder 2"/>
          <p:cNvSpPr txBox="1">
            <a:spLocks/>
          </p:cNvSpPr>
          <p:nvPr/>
        </p:nvSpPr>
        <p:spPr>
          <a:xfrm>
            <a:off x="1911192" y="3127172"/>
            <a:ext cx="1602720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 sz="1600" b="1" dirty="0">
                <a:latin typeface="Segoe UI"/>
              </a:rPr>
              <a:t>Wider Reach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Content Placeholder 2"/>
          <p:cNvSpPr txBox="1">
            <a:spLocks/>
          </p:cNvSpPr>
          <p:nvPr/>
        </p:nvSpPr>
        <p:spPr>
          <a:xfrm>
            <a:off x="7762059" y="2195610"/>
            <a:ext cx="2335873" cy="428400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buClr>
                <a:srgbClr val="505050">
                  <a:lumMod val="60000"/>
                  <a:lumOff val="40000"/>
                </a:srgbClr>
              </a:buClr>
              <a:defRPr/>
            </a:pPr>
            <a:r>
              <a:rPr lang="en-US" sz="1600" b="1" dirty="0"/>
              <a:t>Existing SSAS Cube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624395" y="2629325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7" name="Content Placeholder 2"/>
          <p:cNvSpPr txBox="1">
            <a:spLocks/>
          </p:cNvSpPr>
          <p:nvPr/>
        </p:nvSpPr>
        <p:spPr>
          <a:xfrm>
            <a:off x="7757122" y="3125483"/>
            <a:ext cx="2820461" cy="428400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buClr>
                <a:srgbClr val="505050">
                  <a:lumMod val="60000"/>
                  <a:lumOff val="40000"/>
                </a:srgbClr>
              </a:buClr>
              <a:defRPr/>
            </a:pPr>
            <a:r>
              <a:rPr lang="en-US" sz="1600" b="1" dirty="0"/>
              <a:t>Existing Data Warehouse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7624395" y="3554961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756644" y="1257196"/>
            <a:ext cx="4586260" cy="1568698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-100" normalizeH="0" baseline="0" noProof="0" dirty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Why</a:t>
            </a:r>
          </a:p>
        </p:txBody>
      </p:sp>
      <p:sp>
        <p:nvSpPr>
          <p:cNvPr id="45" name="Rectangle 44"/>
          <p:cNvSpPr/>
          <p:nvPr/>
        </p:nvSpPr>
        <p:spPr>
          <a:xfrm>
            <a:off x="1772225" y="4473104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1772225" y="5411854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1772225" y="3562548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7757122" y="4054112"/>
            <a:ext cx="2820462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buClr>
                <a:srgbClr val="505050">
                  <a:lumMod val="60000"/>
                  <a:lumOff val="40000"/>
                </a:srgbClr>
              </a:buClr>
              <a:defRPr/>
            </a:pPr>
            <a:r>
              <a:rPr lang="en-US" sz="1600" b="1" dirty="0"/>
              <a:t>High level aggregate data </a:t>
            </a:r>
          </a:p>
        </p:txBody>
      </p:sp>
      <p:sp>
        <p:nvSpPr>
          <p:cNvPr id="22" name="Rectangle 21"/>
          <p:cNvSpPr/>
          <p:nvPr/>
        </p:nvSpPr>
        <p:spPr>
          <a:xfrm>
            <a:off x="7624395" y="4480592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" name="Content Placeholder 2"/>
          <p:cNvSpPr txBox="1">
            <a:spLocks/>
          </p:cNvSpPr>
          <p:nvPr/>
        </p:nvSpPr>
        <p:spPr>
          <a:xfrm>
            <a:off x="7757122" y="4985229"/>
            <a:ext cx="3059267" cy="428400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buClr>
                <a:srgbClr val="505050">
                  <a:lumMod val="60000"/>
                  <a:lumOff val="40000"/>
                </a:srgbClr>
              </a:buClr>
              <a:defRPr/>
            </a:pPr>
            <a:r>
              <a:rPr lang="en-US" sz="1600" b="1" dirty="0"/>
              <a:t>Excel/Access based solution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7624395" y="5412476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" name="Content Placeholder 2"/>
          <p:cNvSpPr txBox="1">
            <a:spLocks/>
          </p:cNvSpPr>
          <p:nvPr/>
        </p:nvSpPr>
        <p:spPr>
          <a:xfrm>
            <a:off x="7757123" y="5915103"/>
            <a:ext cx="2000832" cy="428400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 sz="1600" b="1" dirty="0">
                <a:latin typeface="Segoe UI"/>
              </a:rPr>
              <a:t>Prototyping stag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7624395" y="6343179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772225" y="2637944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04E9DF36-5CC3-42D1-A056-2DEC0FEEAF7D}"/>
              </a:ext>
            </a:extLst>
          </p:cNvPr>
          <p:cNvSpPr txBox="1">
            <a:spLocks/>
          </p:cNvSpPr>
          <p:nvPr/>
        </p:nvSpPr>
        <p:spPr>
          <a:xfrm>
            <a:off x="6767274" y="1091340"/>
            <a:ext cx="4494868" cy="111574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GB" dirty="0">
                <a:latin typeface="Segoe UI Light"/>
              </a:rPr>
              <a:t>How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B4F96FC-9FB8-48B7-81D3-937410235B44}"/>
              </a:ext>
            </a:extLst>
          </p:cNvPr>
          <p:cNvSpPr/>
          <p:nvPr/>
        </p:nvSpPr>
        <p:spPr bwMode="auto">
          <a:xfrm>
            <a:off x="-18235" y="1091340"/>
            <a:ext cx="6202273" cy="5766659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err="1">
              <a:ln>
                <a:solidFill>
                  <a:sysClr val="windowText" lastClr="000000"/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67385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Tm="143551">
        <p159:morph option="byObject"/>
      </p:transition>
    </mc:Choice>
    <mc:Fallback xmlns="">
      <p:transition spd="slow" advTm="14355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29" grpId="0" animBg="1"/>
      <p:bldP spid="51" grpId="0" animBg="1"/>
      <p:bldP spid="55" grpId="0" animBg="1"/>
      <p:bldP spid="20" grpId="0" animBg="1"/>
      <p:bldP spid="21" grpId="0" animBg="1"/>
      <p:bldP spid="27" grpId="0" animBg="1"/>
      <p:bldP spid="30" grpId="0" animBg="1"/>
      <p:bldP spid="18" grpId="0"/>
      <p:bldP spid="45" grpId="0" animBg="1"/>
      <p:bldP spid="52" grpId="0" animBg="1"/>
      <p:bldP spid="56" grpId="0" animBg="1"/>
      <p:bldP spid="19" grpId="0" animBg="1"/>
      <p:bldP spid="22" grpId="0" animBg="1"/>
      <p:bldP spid="24" grpId="0" animBg="1"/>
      <p:bldP spid="25" grpId="0" animBg="1"/>
      <p:bldP spid="32" grpId="0" animBg="1"/>
      <p:bldP spid="33" grpId="0" animBg="1"/>
      <p:bldP spid="43" grpId="0" animBg="1"/>
      <p:bldP spid="35" grpId="0"/>
      <p:bldP spid="2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Have you identified initial projects to work on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9374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2800">
        <p:fade/>
      </p:transition>
    </mc:Choice>
    <mc:Fallback xmlns="">
      <p:transition spd="med" advTm="12800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Change Management</a:t>
            </a:r>
            <a:endParaRPr lang="en-US" dirty="0"/>
          </a:p>
        </p:txBody>
      </p:sp>
      <p:sp>
        <p:nvSpPr>
          <p:cNvPr id="31" name="Content Placeholder 2"/>
          <p:cNvSpPr txBox="1">
            <a:spLocks/>
          </p:cNvSpPr>
          <p:nvPr/>
        </p:nvSpPr>
        <p:spPr>
          <a:xfrm>
            <a:off x="2164900" y="2204229"/>
            <a:ext cx="1835902" cy="428400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Case</a:t>
            </a:r>
            <a:r>
              <a:rPr kumimoji="0" lang="en-US" sz="16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 for chang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5" name="Content Placeholder 2"/>
          <p:cNvSpPr txBox="1">
            <a:spLocks/>
          </p:cNvSpPr>
          <p:nvPr/>
        </p:nvSpPr>
        <p:spPr>
          <a:xfrm>
            <a:off x="2164899" y="3127172"/>
            <a:ext cx="2072983" cy="430887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Smooth transition</a:t>
            </a:r>
          </a:p>
        </p:txBody>
      </p:sp>
      <p:sp>
        <p:nvSpPr>
          <p:cNvPr id="20" name="Content Placeholder 2"/>
          <p:cNvSpPr txBox="1">
            <a:spLocks/>
          </p:cNvSpPr>
          <p:nvPr/>
        </p:nvSpPr>
        <p:spPr>
          <a:xfrm>
            <a:off x="7186951" y="2204229"/>
            <a:ext cx="3431852" cy="428400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Change Management specialist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049286" y="2637944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7" name="Content Placeholder 2"/>
          <p:cNvSpPr txBox="1">
            <a:spLocks/>
          </p:cNvSpPr>
          <p:nvPr/>
        </p:nvSpPr>
        <p:spPr>
          <a:xfrm>
            <a:off x="7182013" y="3134102"/>
            <a:ext cx="3431852" cy="428400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Change</a:t>
            </a:r>
            <a:r>
              <a:rPr kumimoji="0" lang="en-US" sz="16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 Management platform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049286" y="3563580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756644" y="1257196"/>
            <a:ext cx="4586260" cy="1568698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rm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5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-100" normalizeH="0" baseline="0" noProof="0" dirty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Why</a:t>
            </a:r>
          </a:p>
        </p:txBody>
      </p:sp>
      <p:sp>
        <p:nvSpPr>
          <p:cNvPr id="56" name="Rectangle 55"/>
          <p:cNvSpPr/>
          <p:nvPr/>
        </p:nvSpPr>
        <p:spPr>
          <a:xfrm>
            <a:off x="2025933" y="3562548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7182012" y="4063975"/>
            <a:ext cx="2249371" cy="428400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Process of transition</a:t>
            </a:r>
          </a:p>
        </p:txBody>
      </p:sp>
      <p:sp>
        <p:nvSpPr>
          <p:cNvPr id="22" name="Rectangle 21"/>
          <p:cNvSpPr/>
          <p:nvPr/>
        </p:nvSpPr>
        <p:spPr>
          <a:xfrm>
            <a:off x="7049286" y="4489211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" name="Content Placeholder 2"/>
          <p:cNvSpPr txBox="1">
            <a:spLocks/>
          </p:cNvSpPr>
          <p:nvPr/>
        </p:nvSpPr>
        <p:spPr>
          <a:xfrm>
            <a:off x="7182013" y="4993848"/>
            <a:ext cx="2144867" cy="428400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Clarity on timeline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7049286" y="5421095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" name="Content Placeholder 2"/>
          <p:cNvSpPr txBox="1">
            <a:spLocks/>
          </p:cNvSpPr>
          <p:nvPr/>
        </p:nvSpPr>
        <p:spPr>
          <a:xfrm>
            <a:off x="7182014" y="5923722"/>
            <a:ext cx="2549815" cy="428400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txBody>
          <a:bodyPr vert="horz" wrap="square" lIns="91440" tIns="91440" rIns="91440" bIns="9144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5050">
                  <a:lumMod val="60000"/>
                  <a:lumOff val="40000"/>
                </a:srgbClr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Switchover/ Parallel</a:t>
            </a:r>
            <a:r>
              <a:rPr kumimoji="0" lang="en-US" sz="16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 run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7049286" y="6351798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025933" y="2637944"/>
            <a:ext cx="130823" cy="130823"/>
          </a:xfrm>
          <a:prstGeom prst="rect">
            <a:avLst/>
          </a:prstGeom>
          <a:noFill/>
          <a:ln w="19050" cap="sq">
            <a:solidFill>
              <a:srgbClr val="F2C811"/>
            </a:solidFill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04E9DF36-5CC3-42D1-A056-2DEC0FEEAF7D}"/>
              </a:ext>
            </a:extLst>
          </p:cNvPr>
          <p:cNvSpPr txBox="1">
            <a:spLocks/>
          </p:cNvSpPr>
          <p:nvPr/>
        </p:nvSpPr>
        <p:spPr>
          <a:xfrm>
            <a:off x="6767274" y="1091340"/>
            <a:ext cx="4494868" cy="111574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GB" dirty="0">
                <a:latin typeface="Segoe UI Light"/>
              </a:rPr>
              <a:t>How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36D0221-BE08-4D28-AAA7-8346E2A41620}"/>
              </a:ext>
            </a:extLst>
          </p:cNvPr>
          <p:cNvSpPr/>
          <p:nvPr/>
        </p:nvSpPr>
        <p:spPr bwMode="auto">
          <a:xfrm>
            <a:off x="-18235" y="1091340"/>
            <a:ext cx="6202273" cy="5766659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err="1">
              <a:ln>
                <a:solidFill>
                  <a:sysClr val="windowText" lastClr="000000"/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19877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Tm="104731">
        <p159:morph option="byObject"/>
      </p:transition>
    </mc:Choice>
    <mc:Fallback xmlns="">
      <p:transition spd="slow" advTm="10473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"/>
                            </p:stCondLst>
                            <p:childTnLst>
                              <p:par>
                                <p:cTn id="6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55" grpId="0" animBg="1"/>
      <p:bldP spid="20" grpId="0" animBg="1"/>
      <p:bldP spid="21" grpId="0" animBg="1"/>
      <p:bldP spid="27" grpId="0" animBg="1"/>
      <p:bldP spid="30" grpId="0" animBg="1"/>
      <p:bldP spid="18" grpId="0"/>
      <p:bldP spid="56" grpId="0" animBg="1"/>
      <p:bldP spid="19" grpId="0" animBg="1"/>
      <p:bldP spid="22" grpId="0" animBg="1"/>
      <p:bldP spid="24" grpId="0" animBg="1"/>
      <p:bldP spid="25" grpId="0" animBg="1"/>
      <p:bldP spid="32" grpId="0" animBg="1"/>
      <p:bldP spid="33" grpId="0" animBg="1"/>
      <p:bldP spid="43" grpId="0" animBg="1"/>
      <p:bldP spid="35" grpId="0"/>
      <p:bldP spid="2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7.6|20.8|7.5|8.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7.6|11.2|9.3|7.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1|4.9|11.8|24.8|10.5|1.9|13|23.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2.5|74.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1|13.5|32.5|27.7|20.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4.7|4.4|19.5|25.3|28.9|25.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4.3|12.9|21.1|16.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6|7.2|7.2|9.6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 BI Template" id="{35F462F2-A35D-42EA-BBC1-6CE7CD01B7EC}" vid="{A8C6A49B-C10D-424B-860C-81981533EC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7" ma:contentTypeDescription="Create a new document." ma:contentTypeScope="" ma:versionID="385892ca22301f732aa61e9e24b0427a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524886d73bd9f25fcf95cbf5af8c08e0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5A22A15-9319-4FBD-A316-5C1FFA8FFC41}"/>
</file>

<file path=customXml/itemProps3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4</Words>
  <Application>Microsoft Office PowerPoint</Application>
  <PresentationFormat>Widescreen</PresentationFormat>
  <Paragraphs>131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Calibri</vt:lpstr>
      <vt:lpstr>Segoe UI</vt:lpstr>
      <vt:lpstr>Segoe UI Black</vt:lpstr>
      <vt:lpstr>Segoe UI Light</vt:lpstr>
      <vt:lpstr>Segoe UI Semibold</vt:lpstr>
      <vt:lpstr>Wingdings</vt:lpstr>
      <vt:lpstr>STB Product Families 2015</vt:lpstr>
      <vt:lpstr>think-cell Slide</vt:lpstr>
      <vt:lpstr>Power BI Adoption Framework</vt:lpstr>
      <vt:lpstr>Need for a Roll-out Strategy</vt:lpstr>
      <vt:lpstr>Roll-Out Considerations</vt:lpstr>
      <vt:lpstr>Phased roll-out</vt:lpstr>
      <vt:lpstr>Enterprise wide roll-out</vt:lpstr>
      <vt:lpstr>Power BI Desktop Roll-out</vt:lpstr>
      <vt:lpstr>Project Selection</vt:lpstr>
      <vt:lpstr>Have you identified initial projects to work on?</vt:lpstr>
      <vt:lpstr>Change Management</vt:lpstr>
      <vt:lpstr>Project Videos</vt:lpstr>
      <vt:lpstr>Communications</vt:lpstr>
      <vt:lpstr>Training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lf-Service BI Roll Out</dc:title>
  <dc:creator/>
  <cp:lastModifiedBy/>
  <cp:revision>1</cp:revision>
  <dcterms:modified xsi:type="dcterms:W3CDTF">2019-11-08T18:10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37B333D9039F42B4A841E7D21AD3E7</vt:lpwstr>
  </property>
  <property fmtid="{D5CDD505-2E9C-101B-9397-08002B2CF9AE}" pid="3" name="p1cd454bacc149bfbcfd764edd279de7">
    <vt:lpwstr/>
  </property>
  <property fmtid="{D5CDD505-2E9C-101B-9397-08002B2CF9AE}" pid="4" name="of67e5d4b76f4a9db8769983fda9cec0">
    <vt:lpwstr/>
  </property>
  <property fmtid="{D5CDD505-2E9C-101B-9397-08002B2CF9AE}" pid="5" name="TaxKeyword">
    <vt:lpwstr/>
  </property>
  <property fmtid="{D5CDD505-2E9C-101B-9397-08002B2CF9AE}" pid="6" name="NewsType">
    <vt:lpwstr/>
  </property>
  <property fmtid="{D5CDD505-2E9C-101B-9397-08002B2CF9AE}" pid="7" name="_dlc_policyId">
    <vt:lpwstr/>
  </property>
  <property fmtid="{D5CDD505-2E9C-101B-9397-08002B2CF9AE}" pid="8" name="Region">
    <vt:lpwstr/>
  </property>
  <property fmtid="{D5CDD505-2E9C-101B-9397-08002B2CF9AE}" pid="9" name="Confidentiality">
    <vt:lpwstr>14;#customer ready|8986c41d-21c5-4f8f-8a12-ea4625b46858</vt:lpwstr>
  </property>
  <property fmtid="{D5CDD505-2E9C-101B-9397-08002B2CF9AE}" pid="10" name="ItemType">
    <vt:lpwstr>435;#technical presentations|83a894cf-702b-47fc-aba5-41bd10dc1e75;#351;#feedback requests|00ce1828-98a3-430e-af54-eda270e1be04</vt:lpwstr>
  </property>
  <property fmtid="{D5CDD505-2E9C-101B-9397-08002B2CF9AE}" pid="11" name="bc28b5f076654a3b96073bbbebfeb8c9">
    <vt:lpwstr/>
  </property>
  <property fmtid="{D5CDD505-2E9C-101B-9397-08002B2CF9AE}" pid="12" name="ga0c0bf70a6644469c61b3efa7025301">
    <vt:lpwstr/>
  </property>
  <property fmtid="{D5CDD505-2E9C-101B-9397-08002B2CF9AE}" pid="13" name="Industries">
    <vt:lpwstr/>
  </property>
  <property fmtid="{D5CDD505-2E9C-101B-9397-08002B2CF9AE}" pid="14" name="MSProducts">
    <vt:lpwstr/>
  </property>
  <property fmtid="{D5CDD505-2E9C-101B-9397-08002B2CF9AE}" pid="15" name="j4d667fb28274e85b2214f6e751c8d1f">
    <vt:lpwstr/>
  </property>
  <property fmtid="{D5CDD505-2E9C-101B-9397-08002B2CF9AE}" pid="16" name="Competitors">
    <vt:lpwstr/>
  </property>
  <property fmtid="{D5CDD505-2E9C-101B-9397-08002B2CF9AE}" pid="17" name="SMSGDomain">
    <vt:lpwstr>82;#SQL Server Domain|0c0f1824-39dc-4b26-8c74-eff4364b812b;#22;#Server and Tools Business|6783548d-8609-4f97-be4a-4ca2616905a6</vt:lpwstr>
  </property>
  <property fmtid="{D5CDD505-2E9C-101B-9397-08002B2CF9AE}" pid="18" name="ExperienceContentType">
    <vt:lpwstr/>
  </property>
  <property fmtid="{D5CDD505-2E9C-101B-9397-08002B2CF9AE}" pid="19" name="BusinessArchitecture">
    <vt:lpwstr>231;#business intelligence|e1f9659f-bde9-4479-81f9-2bc6e8ec0057;#166;#Power BI solution|a774047b-2f39-4ee6-a302-4d53f94b9400</vt:lpwstr>
  </property>
  <property fmtid="{D5CDD505-2E9C-101B-9397-08002B2CF9AE}" pid="20" name="j031aa32f4154c8c9a646efae715ebde">
    <vt:lpwstr/>
  </property>
  <property fmtid="{D5CDD505-2E9C-101B-9397-08002B2CF9AE}" pid="21" name="Products">
    <vt:lpwstr>73;#Microsoft SQL Server|261ba873-f3ab-420e-96d6-e3004596a551;#598;#Microsoft SQL Server Business Intelligence|9ffb7045-1f1b-41c0-987f-ffdc7c6f53c0</vt:lpwstr>
  </property>
  <property fmtid="{D5CDD505-2E9C-101B-9397-08002B2CF9AE}" pid="22" name="ContentExtensions">
    <vt:lpwstr/>
  </property>
  <property fmtid="{D5CDD505-2E9C-101B-9397-08002B2CF9AE}" pid="23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4" name="l6f004f21209409da86a713c0f24627d">
    <vt:lpwstr/>
  </property>
  <property fmtid="{D5CDD505-2E9C-101B-9397-08002B2CF9AE}" pid="25" name="MSProductsTaxHTField0">
    <vt:lpwstr/>
  </property>
  <property fmtid="{D5CDD505-2E9C-101B-9397-08002B2CF9AE}" pid="26" name="Topics">
    <vt:lpwstr/>
  </property>
  <property fmtid="{D5CDD505-2E9C-101B-9397-08002B2CF9AE}" pid="27" name="Groups">
    <vt:lpwstr>399;#SQL Server Marketing|bb7921b3-c1d8-4da4-b894-8b6075d9546d;#42;#Cloud and Enterprise Marketing Group|4f75e184-e5aa-4234-a07f-b032d60df254</vt:lpwstr>
  </property>
  <property fmtid="{D5CDD505-2E9C-101B-9397-08002B2CF9AE}" pid="28" name="_docset_NoMedatataSyncRequired">
    <vt:lpwstr>False</vt:lpwstr>
  </property>
  <property fmtid="{D5CDD505-2E9C-101B-9397-08002B2CF9AE}" pid="29" name="MSLanguage">
    <vt:lpwstr/>
  </property>
  <property fmtid="{D5CDD505-2E9C-101B-9397-08002B2CF9AE}" pid="30" name="e8080b0481964c759b2c36ae49591b31">
    <vt:lpwstr/>
  </property>
  <property fmtid="{D5CDD505-2E9C-101B-9397-08002B2CF9AE}" pid="31" name="Languages">
    <vt:lpwstr/>
  </property>
  <property fmtid="{D5CDD505-2E9C-101B-9397-08002B2CF9AE}" pid="32" name="messageframeworktype">
    <vt:lpwstr/>
  </property>
  <property fmtid="{D5CDD505-2E9C-101B-9397-08002B2CF9AE}" pid="33" name="cb7870d3641f4a52807a63577a9c1b08">
    <vt:lpwstr/>
  </property>
  <property fmtid="{D5CDD505-2E9C-101B-9397-08002B2CF9AE}" pid="34" name="TechnicalLevel">
    <vt:lpwstr/>
  </property>
  <property fmtid="{D5CDD505-2E9C-101B-9397-08002B2CF9AE}" pid="35" name="Audiences">
    <vt:lpwstr/>
  </property>
  <property fmtid="{D5CDD505-2E9C-101B-9397-08002B2CF9AE}" pid="36" name="LearningOrganization">
    <vt:lpwstr/>
  </property>
  <property fmtid="{D5CDD505-2E9C-101B-9397-08002B2CF9AE}" pid="37" name="ldac8aee9d1f469e8cd8c3f8d6a615f2">
    <vt:lpwstr/>
  </property>
  <property fmtid="{D5CDD505-2E9C-101B-9397-08002B2CF9AE}" pid="38" name="EmployeeRole">
    <vt:lpwstr/>
  </property>
  <property fmtid="{D5CDD505-2E9C-101B-9397-08002B2CF9AE}" pid="39" name="NewsTopic">
    <vt:lpwstr/>
  </property>
  <property fmtid="{D5CDD505-2E9C-101B-9397-08002B2CF9AE}" pid="40" name="SalesGeography">
    <vt:lpwstr/>
  </property>
  <property fmtid="{D5CDD505-2E9C-101B-9397-08002B2CF9AE}" pid="41" name="LearningDeliveryMethod">
    <vt:lpwstr/>
  </property>
  <property fmtid="{D5CDD505-2E9C-101B-9397-08002B2CF9AE}" pid="42" name="Roles">
    <vt:lpwstr/>
  </property>
  <property fmtid="{D5CDD505-2E9C-101B-9397-08002B2CF9AE}" pid="43" name="ItemRetentionFormula">
    <vt:lpwstr/>
  </property>
  <property fmtid="{D5CDD505-2E9C-101B-9397-08002B2CF9AE}" pid="44" name="NewsSource">
    <vt:lpwstr/>
  </property>
  <property fmtid="{D5CDD505-2E9C-101B-9397-08002B2CF9AE}" pid="45" name="SMSGTags">
    <vt:lpwstr/>
  </property>
  <property fmtid="{D5CDD505-2E9C-101B-9397-08002B2CF9AE}" pid="46" name="_dlc_DocIdItemGuid">
    <vt:lpwstr>07721352-f0bf-41fc-8da7-ba3749a88128</vt:lpwstr>
  </property>
  <property fmtid="{D5CDD505-2E9C-101B-9397-08002B2CF9AE}" pid="47" name="MSPhysicalGeography">
    <vt:lpwstr/>
  </property>
  <property fmtid="{D5CDD505-2E9C-101B-9397-08002B2CF9AE}" pid="48" name="l311460e3fdf46688abc31ddb7bdc05a">
    <vt:lpwstr/>
  </property>
  <property fmtid="{D5CDD505-2E9C-101B-9397-08002B2CF9AE}" pid="49" name="EnterpriseDomainTags">
    <vt:lpwstr/>
  </property>
  <property fmtid="{D5CDD505-2E9C-101B-9397-08002B2CF9AE}" pid="50" name="j3562c58ee414e028925bc902cfc01a1">
    <vt:lpwstr/>
  </property>
  <property fmtid="{D5CDD505-2E9C-101B-9397-08002B2CF9AE}" pid="51" name="ActivitiesAndPrograms">
    <vt:lpwstr/>
  </property>
  <property fmtid="{D5CDD505-2E9C-101B-9397-08002B2CF9AE}" pid="52" name="Segments">
    <vt:lpwstr/>
  </property>
  <property fmtid="{D5CDD505-2E9C-101B-9397-08002B2CF9AE}" pid="53" name="Partners">
    <vt:lpwstr/>
  </property>
  <property fmtid="{D5CDD505-2E9C-101B-9397-08002B2CF9AE}" pid="54" name="la4444b61d19467597d63190b69ac227">
    <vt:lpwstr/>
  </property>
  <property fmtid="{D5CDD505-2E9C-101B-9397-08002B2CF9AE}" pid="55" name="SharedWithUsers">
    <vt:lpwstr>63906;#Hui Jeng Lee (Alfa Connections Pte Ltd)</vt:lpwstr>
  </property>
  <property fmtid="{D5CDD505-2E9C-101B-9397-08002B2CF9AE}" pid="56" name="MSIP_Label_f42aa342-8706-4288-bd11-ebb85995028c_Enabled">
    <vt:lpwstr>True</vt:lpwstr>
  </property>
  <property fmtid="{D5CDD505-2E9C-101B-9397-08002B2CF9AE}" pid="57" name="MSIP_Label_f42aa342-8706-4288-bd11-ebb85995028c_SiteId">
    <vt:lpwstr>72f988bf-86f1-41af-91ab-2d7cd011db47</vt:lpwstr>
  </property>
  <property fmtid="{D5CDD505-2E9C-101B-9397-08002B2CF9AE}" pid="58" name="MSIP_Label_f42aa342-8706-4288-bd11-ebb85995028c_Ref">
    <vt:lpwstr>https://api.informationprotection.azure.com/api/72f988bf-86f1-41af-91ab-2d7cd011db47</vt:lpwstr>
  </property>
  <property fmtid="{D5CDD505-2E9C-101B-9397-08002B2CF9AE}" pid="59" name="MSIP_Label_f42aa342-8706-4288-bd11-ebb85995028c_Owner">
    <vt:lpwstr>makanw@microsoft.com</vt:lpwstr>
  </property>
  <property fmtid="{D5CDD505-2E9C-101B-9397-08002B2CF9AE}" pid="60" name="MSIP_Label_f42aa342-8706-4288-bd11-ebb85995028c_SetDate">
    <vt:lpwstr>2017-10-10T13:23:32.9628937+01:00</vt:lpwstr>
  </property>
  <property fmtid="{D5CDD505-2E9C-101B-9397-08002B2CF9AE}" pid="61" name="MSIP_Label_f42aa342-8706-4288-bd11-ebb85995028c_Name">
    <vt:lpwstr>General</vt:lpwstr>
  </property>
  <property fmtid="{D5CDD505-2E9C-101B-9397-08002B2CF9AE}" pid="62" name="MSIP_Label_f42aa342-8706-4288-bd11-ebb85995028c_Application">
    <vt:lpwstr>Microsoft Azure Information Protection</vt:lpwstr>
  </property>
  <property fmtid="{D5CDD505-2E9C-101B-9397-08002B2CF9AE}" pid="63" name="MSIP_Label_f42aa342-8706-4288-bd11-ebb85995028c_Extended_MSFT_Method">
    <vt:lpwstr>Automatic</vt:lpwstr>
  </property>
  <property fmtid="{D5CDD505-2E9C-101B-9397-08002B2CF9AE}" pid="64" name="Sensitivity">
    <vt:lpwstr>General</vt:lpwstr>
  </property>
  <property fmtid="{D5CDD505-2E9C-101B-9397-08002B2CF9AE}" pid="65" name="AuthorIds_UIVersion_3072">
    <vt:lpwstr>10</vt:lpwstr>
  </property>
</Properties>
</file>